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4.xml" ContentType="application/vnd.openxmlformats-officedocument.presentationml.tags+xml"/>
  <Override PartName="/ppt/notesSlides/notesSlide6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7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8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notesSlides/notesSlide10.xml" ContentType="application/vnd.openxmlformats-officedocument.presentationml.notesSlide+xml"/>
  <Override PartName="/ppt/tags/tag7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7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3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4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6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7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8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0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1.xml" ContentType="application/vnd.openxmlformats-officedocument.presentationml.notesSlide+xml"/>
  <Override PartName="/ppt/tags/tag95.xml" ContentType="application/vnd.openxmlformats-officedocument.presentationml.tags+xml"/>
  <Override PartName="/ppt/notesSlides/notesSlide2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96.xml" ContentType="application/vnd.openxmlformats-officedocument.presentationml.tags+xml"/>
  <Override PartName="/ppt/notesSlides/notesSlide23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58" r:id="rId2"/>
    <p:sldId id="260" r:id="rId3"/>
    <p:sldId id="257" r:id="rId4"/>
    <p:sldId id="261" r:id="rId5"/>
    <p:sldId id="300" r:id="rId6"/>
    <p:sldId id="262" r:id="rId7"/>
    <p:sldId id="297" r:id="rId8"/>
    <p:sldId id="298" r:id="rId9"/>
    <p:sldId id="299" r:id="rId10"/>
    <p:sldId id="263" r:id="rId11"/>
    <p:sldId id="296" r:id="rId12"/>
    <p:sldId id="301" r:id="rId13"/>
    <p:sldId id="264" r:id="rId14"/>
    <p:sldId id="267" r:id="rId15"/>
    <p:sldId id="289" r:id="rId16"/>
    <p:sldId id="268" r:id="rId17"/>
    <p:sldId id="290" r:id="rId18"/>
    <p:sldId id="271" r:id="rId19"/>
    <p:sldId id="291" r:id="rId20"/>
    <p:sldId id="292" r:id="rId21"/>
    <p:sldId id="293" r:id="rId22"/>
    <p:sldId id="273" r:id="rId23"/>
    <p:sldId id="287" r:id="rId24"/>
    <p:sldId id="288" r:id="rId25"/>
    <p:sldId id="274" r:id="rId26"/>
    <p:sldId id="275" r:id="rId27"/>
  </p:sldIdLst>
  <p:sldSz cx="9144000" cy="6858000" type="screen4x3"/>
  <p:notesSz cx="6858000" cy="9144000"/>
  <p:custDataLst>
    <p:tags r:id="rId29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6F0"/>
    <a:srgbClr val="FBD5B5"/>
    <a:srgbClr val="B8CCE4"/>
    <a:srgbClr val="68CCE4"/>
    <a:srgbClr val="B9CDE5"/>
    <a:srgbClr val="95B3D7"/>
    <a:srgbClr val="1BA3B1"/>
    <a:srgbClr val="1CB0A9"/>
    <a:srgbClr val="00CC99"/>
    <a:srgbClr val="244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Estilo claro 3 - Acento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Estilo medio 1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486" y="156"/>
      </p:cViewPr>
      <p:guideLst>
        <p:guide orient="horz" pos="2160"/>
        <p:guide pos="2880"/>
        <p:guide pos="13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sespitia\AppData\Local\Temp\Socy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21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23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jose%20luis\trabajo\CONTRATOS%20DE%20OBRA\AVANCE\4.%20abril%202016\Copia%20de%20Historico%20UTFC-DRACOL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C:\Users\npaez\Desktop\Work\Carga%20Transportada\Historico%20UTFC-DRACO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1200" b="1" noProof="0" dirty="0" smtClean="0"/>
              <a:t>Avance</a:t>
            </a:r>
            <a:r>
              <a:rPr lang="en-US" sz="1200" b="1" dirty="0" smtClean="0"/>
              <a:t> </a:t>
            </a:r>
            <a:r>
              <a:rPr lang="es-CO" sz="1200" b="1" noProof="0" dirty="0" smtClean="0"/>
              <a:t>en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Reasentamient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Siti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Propio</a:t>
            </a:r>
            <a:endParaRPr lang="en-US" sz="1200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view3D>
      <c:rotX val="0"/>
      <c:rotY val="0"/>
      <c:rAngAx val="0"/>
      <c:perspective val="2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3409645380230555E-2"/>
          <c:y val="0.1711111111111111"/>
          <c:w val="0.89484292437013668"/>
          <c:h val="0.52006769843424749"/>
        </c:manualLayout>
      </c:layout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[Socya.xlsx]Provisional!$B$4:$C$11</c:f>
              <c:multiLvlStrCache>
                <c:ptCount val="8"/>
                <c:lvl>
                  <c:pt idx="0">
                    <c:v>Predios legalizados</c:v>
                  </c:pt>
                  <c:pt idx="1">
                    <c:v>predios proceso de revocatoria ante Incoder por legalizar</c:v>
                  </c:pt>
                  <c:pt idx="2">
                    <c:v>Resolucion licencia de construcción</c:v>
                  </c:pt>
                  <c:pt idx="3">
                    <c:v>Viviendas a Construir para RSP</c:v>
                  </c:pt>
                  <c:pt idx="4">
                    <c:v>Predios legalizados</c:v>
                  </c:pt>
                  <c:pt idx="5">
                    <c:v>predios proceso de revocatoria ante Incoder por legalizar</c:v>
                  </c:pt>
                  <c:pt idx="6">
                    <c:v>Resolucion licencia de construcción</c:v>
                  </c:pt>
                  <c:pt idx="7">
                    <c:v>Viviendas a Construir para RSP</c:v>
                  </c:pt>
                </c:lvl>
                <c:lvl>
                  <c:pt idx="0">
                    <c:v>Loma Colorada - Bosconia</c:v>
                  </c:pt>
                  <c:pt idx="4">
                    <c:v>La Estacion - Algarrobo</c:v>
                  </c:pt>
                </c:lvl>
              </c:multiLvlStrCache>
            </c:multiLvlStrRef>
          </c:cat>
          <c:val>
            <c:numRef>
              <c:f>[Socya.xlsx]Provisional!$D$4:$D$11</c:f>
              <c:numCache>
                <c:formatCode>0.0%</c:formatCode>
                <c:ptCount val="8"/>
                <c:pt idx="0">
                  <c:v>1</c:v>
                </c:pt>
                <c:pt idx="1">
                  <c:v>0</c:v>
                </c:pt>
                <c:pt idx="2">
                  <c:v>0.93</c:v>
                </c:pt>
                <c:pt idx="3">
                  <c:v>0.93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  <c:pt idx="7">
                  <c:v>0.5</c:v>
                </c:pt>
              </c:numCache>
            </c:numRef>
          </c:val>
          <c:shape val="cylinder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shape val="box"/>
        <c:axId val="339173776"/>
        <c:axId val="380684640"/>
        <c:axId val="0"/>
      </c:bar3DChart>
      <c:catAx>
        <c:axId val="339173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380684640"/>
        <c:crosses val="autoZero"/>
        <c:auto val="1"/>
        <c:lblAlgn val="ctr"/>
        <c:lblOffset val="100"/>
        <c:noMultiLvlLbl val="0"/>
      </c:catAx>
      <c:valAx>
        <c:axId val="380684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33917377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75000"/>
        </a:schemeClr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 err="1"/>
              <a:t>Avance</a:t>
            </a:r>
            <a:r>
              <a:rPr lang="en-US" sz="1200" b="1" dirty="0"/>
              <a:t> </a:t>
            </a:r>
            <a:r>
              <a:rPr lang="en-US" sz="1200" b="1" dirty="0" err="1"/>
              <a:t>en</a:t>
            </a:r>
            <a:r>
              <a:rPr lang="en-US" sz="1200" b="1" dirty="0"/>
              <a:t> </a:t>
            </a:r>
            <a:r>
              <a:rPr lang="en-US" sz="1200" b="1" dirty="0" err="1" smtClean="0"/>
              <a:t>Reasentamiento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Otro</a:t>
            </a:r>
            <a:r>
              <a:rPr lang="en-US" sz="1200" b="1" baseline="0" dirty="0" smtClean="0"/>
              <a:t> </a:t>
            </a:r>
            <a:r>
              <a:rPr lang="en-US" sz="1200" b="1" dirty="0" err="1" smtClean="0"/>
              <a:t>Sitio</a:t>
            </a:r>
            <a:endParaRPr lang="en-US" sz="1200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view3D>
      <c:rotX val="0"/>
      <c:rotY val="0"/>
      <c:rAngAx val="0"/>
      <c:perspective val="2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[Socya.xlsx]Provisional!$B$20:$C$25</c:f>
              <c:multiLvlStrCache>
                <c:ptCount val="6"/>
                <c:lvl>
                  <c:pt idx="0">
                    <c:v>Familias con vivienda seleccionada, adquirida y trasladada</c:v>
                  </c:pt>
                  <c:pt idx="1">
                    <c:v>Familias con vivienda o lote en proceso de adquisición</c:v>
                  </c:pt>
                  <c:pt idx="2">
                    <c:v>Familias en proceso de búsqueda de vivienda o lote</c:v>
                  </c:pt>
                  <c:pt idx="3">
                    <c:v>Familias con vivienda seleccionada, adquirida y trasladada</c:v>
                  </c:pt>
                  <c:pt idx="4">
                    <c:v>Familias con vivienda o lote en proceso de construcción</c:v>
                  </c:pt>
                  <c:pt idx="5">
                    <c:v>Familias en proceso de búsqueda de vivienda o lote</c:v>
                  </c:pt>
                </c:lvl>
                <c:lvl>
                  <c:pt idx="0">
                    <c:v>Loma Colorada - Bosconia</c:v>
                  </c:pt>
                  <c:pt idx="3">
                    <c:v>La Estacion - Algarrobo</c:v>
                  </c:pt>
                </c:lvl>
              </c:multiLvlStrCache>
            </c:multiLvlStrRef>
          </c:cat>
          <c:val>
            <c:numRef>
              <c:f>[Socya.xlsx]Provisional!$D$20:$D$25</c:f>
              <c:numCache>
                <c:formatCode>0.0%</c:formatCode>
                <c:ptCount val="6"/>
                <c:pt idx="0">
                  <c:v>0.56999999999999995</c:v>
                </c:pt>
                <c:pt idx="1">
                  <c:v>0.22</c:v>
                </c:pt>
                <c:pt idx="2">
                  <c:v>0.21</c:v>
                </c:pt>
                <c:pt idx="3">
                  <c:v>0.125</c:v>
                </c:pt>
                <c:pt idx="4">
                  <c:v>0.5</c:v>
                </c:pt>
                <c:pt idx="5">
                  <c:v>0.375</c:v>
                </c:pt>
              </c:numCache>
            </c:numRef>
          </c:val>
          <c:shape val="cylinder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shape val="box"/>
        <c:axId val="380687440"/>
        <c:axId val="380685760"/>
        <c:axId val="0"/>
      </c:bar3DChart>
      <c:catAx>
        <c:axId val="380687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380685760"/>
        <c:crosses val="autoZero"/>
        <c:auto val="1"/>
        <c:lblAlgn val="ctr"/>
        <c:lblOffset val="100"/>
        <c:noMultiLvlLbl val="0"/>
      </c:catAx>
      <c:valAx>
        <c:axId val="380685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38068744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75000"/>
        </a:schemeClr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/>
              <a:t>Compensación</a:t>
            </a:r>
            <a:r>
              <a:rPr lang="es-CO" baseline="0"/>
              <a:t> económica</a:t>
            </a:r>
            <a:endParaRPr lang="es-CO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view3D>
      <c:rotX val="0"/>
      <c:rotY val="0"/>
      <c:rAngAx val="0"/>
      <c:perspective val="2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[Socya.xlsx]Provisional!$B$35:$C$40</c:f>
              <c:multiLvlStrCache>
                <c:ptCount val="6"/>
                <c:lvl>
                  <c:pt idx="0">
                    <c:v>Familias con pago de compensación económica en condición de moradores</c:v>
                  </c:pt>
                  <c:pt idx="1">
                    <c:v>Familias con pago de compensación económica por compra de mejoras</c:v>
                  </c:pt>
                  <c:pt idx="2">
                    <c:v>Familia en proceso de negociación para pago de compensación</c:v>
                  </c:pt>
                  <c:pt idx="3">
                    <c:v>Familias con pago de compensación económica en condición de moradores</c:v>
                  </c:pt>
                  <c:pt idx="4">
                    <c:v>Familias con pago de compensación económica por compra de mejoras</c:v>
                  </c:pt>
                  <c:pt idx="5">
                    <c:v>Familia en proceso de negociación para pago de compensación</c:v>
                  </c:pt>
                </c:lvl>
                <c:lvl>
                  <c:pt idx="0">
                    <c:v>Loma Colorada - Bosconia</c:v>
                  </c:pt>
                  <c:pt idx="3">
                    <c:v>La Estacion - Algarrobo</c:v>
                  </c:pt>
                </c:lvl>
              </c:multiLvlStrCache>
            </c:multiLvlStrRef>
          </c:cat>
          <c:val>
            <c:numRef>
              <c:f>[Socya.xlsx]Provisional!$D$35:$D$40</c:f>
              <c:numCache>
                <c:formatCode>0%</c:formatCode>
                <c:ptCount val="6"/>
                <c:pt idx="0">
                  <c:v>0.57999999999999996</c:v>
                </c:pt>
                <c:pt idx="1">
                  <c:v>0.26</c:v>
                </c:pt>
                <c:pt idx="2">
                  <c:v>0.16</c:v>
                </c:pt>
                <c:pt idx="3">
                  <c:v>0.5</c:v>
                </c:pt>
                <c:pt idx="4">
                  <c:v>0.5</c:v>
                </c:pt>
                <c:pt idx="5">
                  <c:v>0</c:v>
                </c:pt>
              </c:numCache>
            </c:numRef>
          </c:val>
          <c:shape val="cylinder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9"/>
        <c:shape val="box"/>
        <c:axId val="169462848"/>
        <c:axId val="169463408"/>
        <c:axId val="0"/>
      </c:bar3DChart>
      <c:catAx>
        <c:axId val="169462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69463408"/>
        <c:crosses val="autoZero"/>
        <c:auto val="1"/>
        <c:lblAlgn val="ctr"/>
        <c:lblOffset val="100"/>
        <c:noMultiLvlLbl val="0"/>
      </c:catAx>
      <c:valAx>
        <c:axId val="169463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69462848"/>
        <c:crosses val="autoZero"/>
        <c:crossBetween val="between"/>
        <c:min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65000"/>
        </a:schemeClr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800" b="1" dirty="0" err="1"/>
              <a:t>H</a:t>
            </a:r>
            <a:r>
              <a:rPr lang="es-CO" sz="800" b="1" dirty="0" err="1" smtClean="0"/>
              <a:t>istorico</a:t>
            </a:r>
            <a:r>
              <a:rPr lang="es-CO" sz="800" b="1" dirty="0" smtClean="0"/>
              <a:t> </a:t>
            </a:r>
            <a:r>
              <a:rPr lang="es-CO" sz="800" b="1" dirty="0"/>
              <a:t>pasajeros</a:t>
            </a:r>
            <a:r>
              <a:rPr lang="es-CO" sz="800" b="1" baseline="0" dirty="0"/>
              <a:t> </a:t>
            </a:r>
          </a:p>
          <a:p>
            <a:pPr>
              <a:defRPr sz="800" b="1"/>
            </a:pPr>
            <a:r>
              <a:rPr lang="es-CO" sz="800" b="1" baseline="0" dirty="0"/>
              <a:t>tramo Km 5- </a:t>
            </a:r>
            <a:r>
              <a:rPr lang="es-CO" sz="800" b="1" baseline="0" dirty="0" smtClean="0"/>
              <a:t>Zipaquirá</a:t>
            </a:r>
            <a:endParaRPr lang="es-CO" sz="800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Historico de pasajeros Bog-Bel'!$C$3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094677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cat>
            <c:strRef>
              <c:f>'Historico de pasajeros Bog-Bel'!$B$4:$B$15</c:f>
              <c:strCache>
                <c:ptCount val="12"/>
                <c:pt idx="0">
                  <c:v>Ene.</c:v>
                </c:pt>
                <c:pt idx="1">
                  <c:v>Feb.</c:v>
                </c:pt>
                <c:pt idx="2">
                  <c:v>Mar.</c:v>
                </c:pt>
                <c:pt idx="3">
                  <c:v>Abr.</c:v>
                </c:pt>
                <c:pt idx="4">
                  <c:v>May.</c:v>
                </c:pt>
                <c:pt idx="5">
                  <c:v>Jun.</c:v>
                </c:pt>
                <c:pt idx="6">
                  <c:v>Jul.</c:v>
                </c:pt>
                <c:pt idx="7">
                  <c:v>Ago.</c:v>
                </c:pt>
                <c:pt idx="8">
                  <c:v>Sep.</c:v>
                </c:pt>
                <c:pt idx="9">
                  <c:v>Oct.</c:v>
                </c:pt>
                <c:pt idx="10">
                  <c:v>Nov.</c:v>
                </c:pt>
                <c:pt idx="11">
                  <c:v>Dic.</c:v>
                </c:pt>
              </c:strCache>
            </c:strRef>
          </c:cat>
          <c:val>
            <c:numRef>
              <c:f>'Historico de pasajeros Bog-Bel'!$C$4:$C$15</c:f>
              <c:numCache>
                <c:formatCode>#,##0</c:formatCode>
                <c:ptCount val="12"/>
                <c:pt idx="0">
                  <c:v>15565</c:v>
                </c:pt>
                <c:pt idx="1">
                  <c:v>18520</c:v>
                </c:pt>
                <c:pt idx="2">
                  <c:v>18351</c:v>
                </c:pt>
                <c:pt idx="3">
                  <c:v>18246</c:v>
                </c:pt>
                <c:pt idx="4">
                  <c:v>11901</c:v>
                </c:pt>
                <c:pt idx="5">
                  <c:v>6505</c:v>
                </c:pt>
                <c:pt idx="6">
                  <c:v>14428</c:v>
                </c:pt>
                <c:pt idx="7">
                  <c:v>19485</c:v>
                </c:pt>
                <c:pt idx="8">
                  <c:v>19985</c:v>
                </c:pt>
                <c:pt idx="9">
                  <c:v>25492</c:v>
                </c:pt>
                <c:pt idx="10">
                  <c:v>14684</c:v>
                </c:pt>
                <c:pt idx="11">
                  <c:v>33348</c:v>
                </c:pt>
              </c:numCache>
            </c:numRef>
          </c:val>
        </c:ser>
        <c:ser>
          <c:idx val="1"/>
          <c:order val="1"/>
          <c:tx>
            <c:strRef>
              <c:f>'Historico de pasajeros Bog-Bel'!$D$3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cat>
            <c:strRef>
              <c:f>'Historico de pasajeros Bog-Bel'!$B$4:$B$15</c:f>
              <c:strCache>
                <c:ptCount val="12"/>
                <c:pt idx="0">
                  <c:v>Ene.</c:v>
                </c:pt>
                <c:pt idx="1">
                  <c:v>Feb.</c:v>
                </c:pt>
                <c:pt idx="2">
                  <c:v>Mar.</c:v>
                </c:pt>
                <c:pt idx="3">
                  <c:v>Abr.</c:v>
                </c:pt>
                <c:pt idx="4">
                  <c:v>May.</c:v>
                </c:pt>
                <c:pt idx="5">
                  <c:v>Jun.</c:v>
                </c:pt>
                <c:pt idx="6">
                  <c:v>Jul.</c:v>
                </c:pt>
                <c:pt idx="7">
                  <c:v>Ago.</c:v>
                </c:pt>
                <c:pt idx="8">
                  <c:v>Sep.</c:v>
                </c:pt>
                <c:pt idx="9">
                  <c:v>Oct.</c:v>
                </c:pt>
                <c:pt idx="10">
                  <c:v>Nov.</c:v>
                </c:pt>
                <c:pt idx="11">
                  <c:v>Dic.</c:v>
                </c:pt>
              </c:strCache>
            </c:strRef>
          </c:cat>
          <c:val>
            <c:numRef>
              <c:f>'Historico de pasajeros Bog-Bel'!$D$4:$D$15</c:f>
              <c:numCache>
                <c:formatCode>#,##0</c:formatCode>
                <c:ptCount val="12"/>
                <c:pt idx="0">
                  <c:v>29464</c:v>
                </c:pt>
                <c:pt idx="1">
                  <c:v>42358</c:v>
                </c:pt>
                <c:pt idx="2">
                  <c:v>39728</c:v>
                </c:pt>
                <c:pt idx="3">
                  <c:v>35864</c:v>
                </c:pt>
                <c:pt idx="4">
                  <c:v>26183</c:v>
                </c:pt>
                <c:pt idx="5">
                  <c:v>11902</c:v>
                </c:pt>
                <c:pt idx="6">
                  <c:v>24244</c:v>
                </c:pt>
                <c:pt idx="7">
                  <c:v>42024</c:v>
                </c:pt>
                <c:pt idx="8">
                  <c:v>41728</c:v>
                </c:pt>
                <c:pt idx="9">
                  <c:v>36024</c:v>
                </c:pt>
                <c:pt idx="10">
                  <c:v>24450</c:v>
                </c:pt>
                <c:pt idx="11">
                  <c:v>34928</c:v>
                </c:pt>
              </c:numCache>
            </c:numRef>
          </c:val>
        </c:ser>
        <c:ser>
          <c:idx val="2"/>
          <c:order val="2"/>
          <c:tx>
            <c:strRef>
              <c:f>'Historico de pasajeros Bog-Bel'!$E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cat>
            <c:strRef>
              <c:f>'Historico de pasajeros Bog-Bel'!$B$4:$B$15</c:f>
              <c:strCache>
                <c:ptCount val="12"/>
                <c:pt idx="0">
                  <c:v>Ene.</c:v>
                </c:pt>
                <c:pt idx="1">
                  <c:v>Feb.</c:v>
                </c:pt>
                <c:pt idx="2">
                  <c:v>Mar.</c:v>
                </c:pt>
                <c:pt idx="3">
                  <c:v>Abr.</c:v>
                </c:pt>
                <c:pt idx="4">
                  <c:v>May.</c:v>
                </c:pt>
                <c:pt idx="5">
                  <c:v>Jun.</c:v>
                </c:pt>
                <c:pt idx="6">
                  <c:v>Jul.</c:v>
                </c:pt>
                <c:pt idx="7">
                  <c:v>Ago.</c:v>
                </c:pt>
                <c:pt idx="8">
                  <c:v>Sep.</c:v>
                </c:pt>
                <c:pt idx="9">
                  <c:v>Oct.</c:v>
                </c:pt>
                <c:pt idx="10">
                  <c:v>Nov.</c:v>
                </c:pt>
                <c:pt idx="11">
                  <c:v>Dic.</c:v>
                </c:pt>
              </c:strCache>
            </c:strRef>
          </c:cat>
          <c:val>
            <c:numRef>
              <c:f>'Historico de pasajeros Bog-Bel'!$E$4:$E$15</c:f>
              <c:numCache>
                <c:formatCode>#,##0</c:formatCode>
                <c:ptCount val="12"/>
                <c:pt idx="0">
                  <c:v>28036</c:v>
                </c:pt>
                <c:pt idx="1">
                  <c:v>40694</c:v>
                </c:pt>
                <c:pt idx="2">
                  <c:v>38112</c:v>
                </c:pt>
                <c:pt idx="3">
                  <c:v>40490</c:v>
                </c:pt>
                <c:pt idx="4">
                  <c:v>31876</c:v>
                </c:pt>
                <c:pt idx="5">
                  <c:v>10738</c:v>
                </c:pt>
                <c:pt idx="6">
                  <c:v>22500</c:v>
                </c:pt>
                <c:pt idx="7">
                  <c:v>42338</c:v>
                </c:pt>
                <c:pt idx="8">
                  <c:v>42728</c:v>
                </c:pt>
                <c:pt idx="9">
                  <c:v>35448</c:v>
                </c:pt>
                <c:pt idx="10">
                  <c:v>21320</c:v>
                </c:pt>
                <c:pt idx="11">
                  <c:v>31512</c:v>
                </c:pt>
              </c:numCache>
            </c:numRef>
          </c:val>
        </c:ser>
        <c:ser>
          <c:idx val="3"/>
          <c:order val="3"/>
          <c:tx>
            <c:strRef>
              <c:f>'Historico de pasajeros Bog-Bel'!$F$3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cat>
            <c:strRef>
              <c:f>'Historico de pasajeros Bog-Bel'!$B$4:$B$15</c:f>
              <c:strCache>
                <c:ptCount val="12"/>
                <c:pt idx="0">
                  <c:v>Ene.</c:v>
                </c:pt>
                <c:pt idx="1">
                  <c:v>Feb.</c:v>
                </c:pt>
                <c:pt idx="2">
                  <c:v>Mar.</c:v>
                </c:pt>
                <c:pt idx="3">
                  <c:v>Abr.</c:v>
                </c:pt>
                <c:pt idx="4">
                  <c:v>May.</c:v>
                </c:pt>
                <c:pt idx="5">
                  <c:v>Jun.</c:v>
                </c:pt>
                <c:pt idx="6">
                  <c:v>Jul.</c:v>
                </c:pt>
                <c:pt idx="7">
                  <c:v>Ago.</c:v>
                </c:pt>
                <c:pt idx="8">
                  <c:v>Sep.</c:v>
                </c:pt>
                <c:pt idx="9">
                  <c:v>Oct.</c:v>
                </c:pt>
                <c:pt idx="10">
                  <c:v>Nov.</c:v>
                </c:pt>
                <c:pt idx="11">
                  <c:v>Dic.</c:v>
                </c:pt>
              </c:strCache>
            </c:strRef>
          </c:cat>
          <c:val>
            <c:numRef>
              <c:f>'Historico de pasajeros Bog-Bel'!$F$4:$F$15</c:f>
              <c:numCache>
                <c:formatCode>#,##0</c:formatCode>
                <c:ptCount val="12"/>
                <c:pt idx="0">
                  <c:v>27360</c:v>
                </c:pt>
                <c:pt idx="1">
                  <c:v>34208</c:v>
                </c:pt>
                <c:pt idx="2">
                  <c:v>41860</c:v>
                </c:pt>
                <c:pt idx="3">
                  <c:v>393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77035504"/>
        <c:axId val="277859568"/>
      </c:barChart>
      <c:catAx>
        <c:axId val="277035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77859568"/>
        <c:crosses val="autoZero"/>
        <c:auto val="1"/>
        <c:lblAlgn val="ctr"/>
        <c:lblOffset val="100"/>
        <c:noMultiLvlLbl val="0"/>
      </c:catAx>
      <c:valAx>
        <c:axId val="277859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77035504"/>
        <c:crosses val="autoZero"/>
        <c:crossBetween val="between"/>
        <c:majorUnit val="10000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1100" b="1"/>
              <a:t>Historico de pasajeros</a:t>
            </a:r>
            <a:r>
              <a:rPr lang="es-CO" sz="1100" b="1" baseline="0"/>
              <a:t> Contrato de Obra No.  418 de 2013</a:t>
            </a:r>
            <a:endParaRPr lang="es-CO" sz="1100" b="1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scatterChart>
        <c:scatterStyle val="smoothMarker"/>
        <c:varyColors val="0"/>
        <c:ser>
          <c:idx val="0"/>
          <c:order val="0"/>
          <c:spPr>
            <a:ln w="28575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002060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22"/>
            <c:marker>
              <c:symbol val="circle"/>
              <c:size val="6"/>
              <c:spPr>
                <a:solidFill>
                  <a:srgbClr val="002060"/>
                </a:solidFill>
                <a:ln w="9525">
                  <a:solidFill>
                    <a:srgbClr val="002060"/>
                  </a:solidFill>
                </a:ln>
                <a:effectLst/>
              </c:spPr>
            </c:marker>
            <c:bubble3D val="0"/>
          </c:dPt>
          <c:dPt>
            <c:idx val="26"/>
            <c:marker>
              <c:symbol val="circle"/>
              <c:size val="6"/>
              <c:spPr>
                <a:solidFill>
                  <a:srgbClr val="002060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</c:dPt>
          <c:dPt>
            <c:idx val="28"/>
            <c:marker>
              <c:symbol val="circle"/>
              <c:size val="6"/>
              <c:spPr>
                <a:solidFill>
                  <a:srgbClr val="002060"/>
                </a:solidFill>
                <a:ln w="9525">
                  <a:solidFill>
                    <a:srgbClr val="0070C0"/>
                  </a:solidFill>
                </a:ln>
                <a:effectLst/>
              </c:spPr>
            </c:marker>
            <c:bubble3D val="0"/>
          </c:dPt>
          <c:dPt>
            <c:idx val="29"/>
            <c:marker>
              <c:symbol val="circle"/>
              <c:size val="6"/>
              <c:spPr>
                <a:solidFill>
                  <a:srgbClr val="C00000"/>
                </a:solidFill>
                <a:ln w="9525">
                  <a:solidFill>
                    <a:srgbClr val="FF0000"/>
                  </a:solidFill>
                </a:ln>
                <a:effectLst/>
              </c:spPr>
            </c:marker>
            <c:bubble3D val="0"/>
          </c:dPt>
          <c:dLbls>
            <c:dLbl>
              <c:idx val="29"/>
              <c:layout>
                <c:manualLayout>
                  <c:x val="-1.3632108486439195E-2"/>
                  <c:y val="-9.95024059492563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Historico de pasajeros Dor-Chi'!$Z$6:$Z$35</c:f>
              <c:numCache>
                <c:formatCode>mmm\-yy</c:formatCode>
                <c:ptCount val="30"/>
                <c:pt idx="0">
                  <c:v>41579</c:v>
                </c:pt>
                <c:pt idx="1">
                  <c:v>41609</c:v>
                </c:pt>
                <c:pt idx="2">
                  <c:v>41640</c:v>
                </c:pt>
                <c:pt idx="3">
                  <c:v>41671</c:v>
                </c:pt>
                <c:pt idx="4">
                  <c:v>41699</c:v>
                </c:pt>
                <c:pt idx="5">
                  <c:v>41730</c:v>
                </c:pt>
                <c:pt idx="6">
                  <c:v>41760</c:v>
                </c:pt>
                <c:pt idx="7">
                  <c:v>41791</c:v>
                </c:pt>
                <c:pt idx="8">
                  <c:v>41821</c:v>
                </c:pt>
                <c:pt idx="9">
                  <c:v>41852</c:v>
                </c:pt>
                <c:pt idx="10">
                  <c:v>41883</c:v>
                </c:pt>
                <c:pt idx="11">
                  <c:v>41913</c:v>
                </c:pt>
                <c:pt idx="12">
                  <c:v>41944</c:v>
                </c:pt>
                <c:pt idx="13">
                  <c:v>41974</c:v>
                </c:pt>
                <c:pt idx="14">
                  <c:v>42005</c:v>
                </c:pt>
                <c:pt idx="15">
                  <c:v>42036</c:v>
                </c:pt>
                <c:pt idx="16">
                  <c:v>42064</c:v>
                </c:pt>
                <c:pt idx="17">
                  <c:v>42095</c:v>
                </c:pt>
                <c:pt idx="18">
                  <c:v>42125</c:v>
                </c:pt>
                <c:pt idx="19">
                  <c:v>42156</c:v>
                </c:pt>
                <c:pt idx="20">
                  <c:v>42186</c:v>
                </c:pt>
                <c:pt idx="21">
                  <c:v>42217</c:v>
                </c:pt>
                <c:pt idx="22">
                  <c:v>42248</c:v>
                </c:pt>
                <c:pt idx="23">
                  <c:v>42278</c:v>
                </c:pt>
                <c:pt idx="24">
                  <c:v>42309</c:v>
                </c:pt>
                <c:pt idx="25">
                  <c:v>42339</c:v>
                </c:pt>
                <c:pt idx="26">
                  <c:v>42370</c:v>
                </c:pt>
                <c:pt idx="27">
                  <c:v>42401</c:v>
                </c:pt>
                <c:pt idx="28">
                  <c:v>42430</c:v>
                </c:pt>
                <c:pt idx="29">
                  <c:v>42461</c:v>
                </c:pt>
              </c:numCache>
            </c:numRef>
          </c:xVal>
          <c:yVal>
            <c:numRef>
              <c:f>'Historico de pasajeros Dor-Chi'!$AA$6:$AA$35</c:f>
              <c:numCache>
                <c:formatCode>#,##0</c:formatCode>
                <c:ptCount val="30"/>
                <c:pt idx="0">
                  <c:v>4717</c:v>
                </c:pt>
                <c:pt idx="1">
                  <c:v>6830</c:v>
                </c:pt>
                <c:pt idx="2">
                  <c:v>6696</c:v>
                </c:pt>
                <c:pt idx="3">
                  <c:v>5241</c:v>
                </c:pt>
                <c:pt idx="4">
                  <c:v>6250</c:v>
                </c:pt>
                <c:pt idx="5">
                  <c:v>6398</c:v>
                </c:pt>
                <c:pt idx="6">
                  <c:v>7177</c:v>
                </c:pt>
                <c:pt idx="7">
                  <c:v>6506</c:v>
                </c:pt>
                <c:pt idx="8">
                  <c:v>7044</c:v>
                </c:pt>
                <c:pt idx="9">
                  <c:v>5224</c:v>
                </c:pt>
                <c:pt idx="10">
                  <c:v>4959</c:v>
                </c:pt>
                <c:pt idx="11">
                  <c:v>6098</c:v>
                </c:pt>
                <c:pt idx="12">
                  <c:v>6306</c:v>
                </c:pt>
                <c:pt idx="13">
                  <c:v>7662</c:v>
                </c:pt>
                <c:pt idx="14">
                  <c:v>6895</c:v>
                </c:pt>
                <c:pt idx="15">
                  <c:v>5069</c:v>
                </c:pt>
                <c:pt idx="16">
                  <c:v>5587</c:v>
                </c:pt>
                <c:pt idx="17">
                  <c:v>5259</c:v>
                </c:pt>
                <c:pt idx="18">
                  <c:v>5847</c:v>
                </c:pt>
                <c:pt idx="19">
                  <c:v>5827</c:v>
                </c:pt>
                <c:pt idx="20">
                  <c:v>6561</c:v>
                </c:pt>
                <c:pt idx="21">
                  <c:v>6223</c:v>
                </c:pt>
                <c:pt idx="22">
                  <c:v>5452</c:v>
                </c:pt>
                <c:pt idx="23">
                  <c:v>5789</c:v>
                </c:pt>
                <c:pt idx="24">
                  <c:v>6248</c:v>
                </c:pt>
                <c:pt idx="25">
                  <c:v>8070</c:v>
                </c:pt>
                <c:pt idx="26">
                  <c:v>6591</c:v>
                </c:pt>
                <c:pt idx="27">
                  <c:v>4516</c:v>
                </c:pt>
                <c:pt idx="28">
                  <c:v>5651</c:v>
                </c:pt>
                <c:pt idx="29">
                  <c:v>5036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7861808"/>
        <c:axId val="277862368"/>
      </c:scatterChart>
      <c:valAx>
        <c:axId val="277861808"/>
        <c:scaling>
          <c:orientation val="minMax"/>
          <c:max val="42461"/>
          <c:min val="41579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CO" b="1"/>
                  <a:t>Me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CO"/>
            </a:p>
          </c:txPr>
        </c:title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77862368"/>
        <c:crosses val="autoZero"/>
        <c:crossBetween val="midCat"/>
        <c:majorUnit val="120"/>
      </c:valAx>
      <c:valAx>
        <c:axId val="277862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CO"/>
                  <a:t>Pasajeros movilizado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CO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7786180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smtClean="0"/>
            <a:t>Toneladas Transportad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Red Férrea del Atlántico </a:t>
          </a:r>
          <a:r>
            <a:rPr lang="es-CO" b="1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47.705.647</a:t>
          </a:r>
          <a:r>
            <a:rPr lang="es-MX" b="1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 Ton </a:t>
          </a:r>
          <a:r>
            <a:rPr lang="es-CO" b="0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sobre una meta propuesta de </a:t>
          </a:r>
          <a:r>
            <a:rPr lang="es-CO" b="1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41 MTon</a:t>
          </a:r>
          <a:endParaRPr lang="es-CO" b="1" dirty="0">
            <a:solidFill>
              <a:schemeClr val="accent1">
                <a:lumMod val="25000"/>
              </a:schemeClr>
            </a:solidFill>
            <a:effectLst/>
            <a:latin typeface="Candara" panose="020E0502030303020204" pitchFamily="34" charset="0"/>
            <a:ea typeface="+mn-ea"/>
            <a:cs typeface="+mn-cs"/>
          </a:endParaRP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07499A4B-B48B-4CA7-A2BF-8CBA54EC05C0}">
      <dgm:prSet phldrT="[Texto]"/>
      <dgm:spPr/>
      <dgm:t>
        <a:bodyPr/>
        <a:lstStyle/>
        <a:p>
          <a:r>
            <a:rPr lang="es-CO" dirty="0" smtClean="0"/>
            <a:t>Red Férrea del Pacífico </a:t>
          </a:r>
          <a:r>
            <a:rPr lang="es-CO" b="1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233,634</a:t>
          </a:r>
          <a:r>
            <a:rPr lang="es-CO" dirty="0" smtClean="0"/>
            <a:t> </a:t>
          </a:r>
          <a:r>
            <a:rPr lang="es-CO" b="1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Ton </a:t>
          </a:r>
          <a:r>
            <a:rPr lang="es-CO" b="0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sobre una meta propuesta de 230.000 Ton</a:t>
          </a:r>
          <a:endParaRPr lang="es-CO" b="1" dirty="0">
            <a:solidFill>
              <a:schemeClr val="accent1">
                <a:lumMod val="25000"/>
              </a:schemeClr>
            </a:solidFill>
            <a:effectLst/>
            <a:latin typeface="Candara" panose="020E0502030303020204" pitchFamily="34" charset="0"/>
            <a:ea typeface="+mn-ea"/>
            <a:cs typeface="+mn-cs"/>
          </a:endParaRPr>
        </a:p>
      </dgm:t>
    </dgm:pt>
    <dgm:pt modelId="{B2DBA67C-BCD6-463C-AC81-1D3B37903BEE}" type="parTrans" cxnId="{DBE30969-0435-4D25-B3E6-54DB7A43099D}">
      <dgm:prSet/>
      <dgm:spPr/>
      <dgm:t>
        <a:bodyPr/>
        <a:lstStyle/>
        <a:p>
          <a:endParaRPr lang="es-CO"/>
        </a:p>
      </dgm:t>
    </dgm:pt>
    <dgm:pt modelId="{75627127-9B9F-4B34-B311-09B38BC3A495}" type="sibTrans" cxnId="{DBE30969-0435-4D25-B3E6-54DB7A43099D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1429" custLinFactNeighborY="-31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10117" custLinFactNeighborY="-187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DBE30969-0435-4D25-B3E6-54DB7A43099D}" srcId="{3256AD19-79D9-4DD2-BD85-48D74080CB17}" destId="{07499A4B-B48B-4CA7-A2BF-8CBA54EC05C0}" srcOrd="1" destOrd="0" parTransId="{B2DBA67C-BCD6-463C-AC81-1D3B37903BEE}" sibTransId="{75627127-9B9F-4B34-B311-09B38BC3A495}"/>
    <dgm:cxn modelId="{4918B416-3562-4452-A661-A5FF8C856EE4}" type="presOf" srcId="{3256AD19-79D9-4DD2-BD85-48D74080CB17}" destId="{FFC2669E-6EFE-4306-9BF4-0E6FE39D4B43}" srcOrd="0" destOrd="0" presId="urn:microsoft.com/office/officeart/2005/8/layout/hList1"/>
    <dgm:cxn modelId="{C79BE4D5-31F6-4CF1-95A8-2E979329302E}" type="presOf" srcId="{CF84DDC2-96BF-432F-AA37-B7281110F630}" destId="{351DADD5-826D-416B-84E5-26678C386891}" srcOrd="0" destOrd="0" presId="urn:microsoft.com/office/officeart/2005/8/layout/hList1"/>
    <dgm:cxn modelId="{49FB46D4-0191-4CFF-A096-87514BC05971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8DD6EFA8-AE41-4FB7-9615-1129982E1F95}" type="presOf" srcId="{07499A4B-B48B-4CA7-A2BF-8CBA54EC05C0}" destId="{AB09D624-FF1B-4987-8110-30D214096F41}" srcOrd="0" destOrd="1" presId="urn:microsoft.com/office/officeart/2005/8/layout/hList1"/>
    <dgm:cxn modelId="{4A062310-A990-4815-8922-BE092BFC04A4}" type="presParOf" srcId="{351DADD5-826D-416B-84E5-26678C386891}" destId="{78A07495-0AF3-45E3-8386-C0DF5FF5E438}" srcOrd="0" destOrd="0" presId="urn:microsoft.com/office/officeart/2005/8/layout/hList1"/>
    <dgm:cxn modelId="{6A50C155-0266-4C6F-A94F-3DD01D762665}" type="presParOf" srcId="{78A07495-0AF3-45E3-8386-C0DF5FF5E438}" destId="{FFC2669E-6EFE-4306-9BF4-0E6FE39D4B43}" srcOrd="0" destOrd="0" presId="urn:microsoft.com/office/officeart/2005/8/layout/hList1"/>
    <dgm:cxn modelId="{1513FCF7-C082-4EBD-BC5E-A396197830EB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smtClean="0"/>
            <a:t>Toneladas Transportad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2700" dirty="0" smtClean="0"/>
            <a:t>Red Férrea del Atlántico </a:t>
          </a:r>
          <a:r>
            <a:rPr lang="es-CO" sz="2000" b="1" dirty="0" smtClean="0">
              <a:solidFill>
                <a:schemeClr val="accent4"/>
              </a:solidFill>
            </a:rPr>
            <a:t>47,7 </a:t>
          </a:r>
          <a:r>
            <a:rPr lang="es-CO" sz="2000" b="1" dirty="0" smtClean="0">
              <a:solidFill>
                <a:schemeClr val="accent4"/>
              </a:solidFill>
            </a:rPr>
            <a:t>M-Ton</a:t>
          </a:r>
          <a:endParaRPr lang="es-CO" sz="2000" b="1" dirty="0">
            <a:solidFill>
              <a:schemeClr val="accent4"/>
            </a:solidFill>
          </a:endParaRP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F2EEE314-175B-4886-9CE2-8E1602E419B0}">
      <dgm:prSet phldrT="[Texto]" custT="1"/>
      <dgm:spPr/>
      <dgm:t>
        <a:bodyPr/>
        <a:lstStyle/>
        <a:p>
          <a:r>
            <a:rPr lang="es-CO" sz="2700" dirty="0" smtClean="0"/>
            <a:t>Inversiones por </a:t>
          </a:r>
          <a:r>
            <a:rPr lang="es-CO" sz="2700" dirty="0" smtClean="0"/>
            <a:t>COP </a:t>
          </a:r>
          <a:r>
            <a:rPr lang="es-CO" sz="2000" b="1" dirty="0" smtClean="0">
              <a:solidFill>
                <a:schemeClr val="accent4"/>
              </a:solidFill>
            </a:rPr>
            <a:t>$68.747 millones</a:t>
          </a:r>
          <a:endParaRPr lang="es-CO" sz="2000" b="1" dirty="0">
            <a:solidFill>
              <a:schemeClr val="accent4"/>
            </a:solidFill>
          </a:endParaRPr>
        </a:p>
      </dgm:t>
    </dgm:pt>
    <dgm:pt modelId="{90BC5301-B746-42D8-9D91-86617A13FD22}" type="parTrans" cxnId="{7E09A7D2-0482-4929-8D38-EC2C0C9EB3FE}">
      <dgm:prSet/>
      <dgm:spPr/>
      <dgm:t>
        <a:bodyPr/>
        <a:lstStyle/>
        <a:p>
          <a:endParaRPr lang="es-CO"/>
        </a:p>
      </dgm:t>
    </dgm:pt>
    <dgm:pt modelId="{A439399A-3B0B-444D-BF0A-7971002359BF}" type="sibTrans" cxnId="{7E09A7D2-0482-4929-8D38-EC2C0C9EB3FE}">
      <dgm:prSet/>
      <dgm:spPr/>
      <dgm:t>
        <a:bodyPr/>
        <a:lstStyle/>
        <a:p>
          <a:endParaRPr lang="es-CO"/>
        </a:p>
      </dgm:t>
    </dgm:pt>
    <dgm:pt modelId="{49006717-FC2A-4778-9799-DDF035C7C4E0}">
      <dgm:prSet phldrT="[Texto]" custT="1"/>
      <dgm:spPr/>
      <dgm:t>
        <a:bodyPr/>
        <a:lstStyle/>
        <a:p>
          <a:r>
            <a:rPr lang="es-CO" sz="2700" dirty="0" smtClean="0"/>
            <a:t>Red Férrea del Pacifico </a:t>
          </a:r>
          <a:r>
            <a:rPr lang="es-CO" sz="2000" b="1" dirty="0" smtClean="0">
              <a:solidFill>
                <a:schemeClr val="accent4"/>
              </a:solidFill>
            </a:rPr>
            <a:t>29.000 </a:t>
          </a:r>
          <a:r>
            <a:rPr lang="es-CO" sz="2000" b="1" dirty="0" smtClean="0">
              <a:solidFill>
                <a:schemeClr val="accent4"/>
              </a:solidFill>
            </a:rPr>
            <a:t>Ton </a:t>
          </a:r>
          <a:endParaRPr lang="es-CO" sz="2000" b="1" dirty="0">
            <a:solidFill>
              <a:schemeClr val="accent4"/>
            </a:solidFill>
          </a:endParaRPr>
        </a:p>
      </dgm:t>
    </dgm:pt>
    <dgm:pt modelId="{C5A6DCCE-FD48-4BD0-A312-ECD5574DC5AE}" type="parTrans" cxnId="{785EA492-B6EF-4AA1-8053-FD22F83CE674}">
      <dgm:prSet/>
      <dgm:spPr/>
      <dgm:t>
        <a:bodyPr/>
        <a:lstStyle/>
        <a:p>
          <a:endParaRPr lang="es-CO"/>
        </a:p>
      </dgm:t>
    </dgm:pt>
    <dgm:pt modelId="{31D6E56B-A977-47E1-A4E6-CE7E0CE78B42}" type="sibTrans" cxnId="{785EA492-B6EF-4AA1-8053-FD22F83CE674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1429" custLinFactNeighborY="-31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10906" custLinFactNeighborY="-187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D8E91B4-ED32-404B-A890-2E1FC6816669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5DE9094D-DFE6-4FE5-B2C8-D0C245B73A14}" type="presOf" srcId="{3256AD19-79D9-4DD2-BD85-48D74080CB17}" destId="{FFC2669E-6EFE-4306-9BF4-0E6FE39D4B43}" srcOrd="0" destOrd="0" presId="urn:microsoft.com/office/officeart/2005/8/layout/hList1"/>
    <dgm:cxn modelId="{7E09A7D2-0482-4929-8D38-EC2C0C9EB3FE}" srcId="{3256AD19-79D9-4DD2-BD85-48D74080CB17}" destId="{F2EEE314-175B-4886-9CE2-8E1602E419B0}" srcOrd="2" destOrd="0" parTransId="{90BC5301-B746-42D8-9D91-86617A13FD22}" sibTransId="{A439399A-3B0B-444D-BF0A-7971002359BF}"/>
    <dgm:cxn modelId="{785EA492-B6EF-4AA1-8053-FD22F83CE674}" srcId="{3256AD19-79D9-4DD2-BD85-48D74080CB17}" destId="{49006717-FC2A-4778-9799-DDF035C7C4E0}" srcOrd="1" destOrd="0" parTransId="{C5A6DCCE-FD48-4BD0-A312-ECD5574DC5AE}" sibTransId="{31D6E56B-A977-47E1-A4E6-CE7E0CE78B42}"/>
    <dgm:cxn modelId="{BC26221F-DAA5-43D9-B28A-0F18CC0068D4}" type="presOf" srcId="{CF84DDC2-96BF-432F-AA37-B7281110F630}" destId="{351DADD5-826D-416B-84E5-26678C386891}" srcOrd="0" destOrd="0" presId="urn:microsoft.com/office/officeart/2005/8/layout/hList1"/>
    <dgm:cxn modelId="{A91A0E5C-0893-45F3-BE31-339A8160FC9F}" type="presOf" srcId="{49006717-FC2A-4778-9799-DDF035C7C4E0}" destId="{AB09D624-FF1B-4987-8110-30D214096F41}" srcOrd="0" destOrd="1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C30CE909-08B9-46FD-97A7-29F84751271D}" type="presOf" srcId="{F2EEE314-175B-4886-9CE2-8E1602E419B0}" destId="{AB09D624-FF1B-4987-8110-30D214096F41}" srcOrd="0" destOrd="2" presId="urn:microsoft.com/office/officeart/2005/8/layout/hList1"/>
    <dgm:cxn modelId="{B7E836D1-98C4-49AD-A5C7-6B4E3B34115A}" type="presParOf" srcId="{351DADD5-826D-416B-84E5-26678C386891}" destId="{78A07495-0AF3-45E3-8386-C0DF5FF5E438}" srcOrd="0" destOrd="0" presId="urn:microsoft.com/office/officeart/2005/8/layout/hList1"/>
    <dgm:cxn modelId="{C5C0B82F-BC05-4EA3-B305-C5617E66C8BF}" type="presParOf" srcId="{78A07495-0AF3-45E3-8386-C0DF5FF5E438}" destId="{FFC2669E-6EFE-4306-9BF4-0E6FE39D4B43}" srcOrd="0" destOrd="0" presId="urn:microsoft.com/office/officeart/2005/8/layout/hList1"/>
    <dgm:cxn modelId="{29F41E26-5714-4F8E-818A-CD0D537E9A79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03328"/>
          <a:ext cx="5040560" cy="633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200" kern="1200" smtClean="0"/>
            <a:t>Toneladas Transportadas</a:t>
          </a:r>
          <a:endParaRPr lang="es-CO" sz="2200" kern="1200" dirty="0"/>
        </a:p>
      </dsp:txBody>
      <dsp:txXfrm>
        <a:off x="0" y="103328"/>
        <a:ext cx="5040560" cy="633600"/>
      </dsp:txXfrm>
    </dsp:sp>
    <dsp:sp modelId="{AB09D624-FF1B-4987-8110-30D214096F41}">
      <dsp:nvSpPr>
        <dsp:cNvPr id="0" name=""/>
        <dsp:cNvSpPr/>
      </dsp:nvSpPr>
      <dsp:spPr>
        <a:xfrm>
          <a:off x="0" y="703307"/>
          <a:ext cx="5040560" cy="190228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200" kern="1200" dirty="0" smtClean="0"/>
            <a:t>Red Férrea del Atlántico </a:t>
          </a:r>
          <a:r>
            <a:rPr lang="es-CO" sz="2200" b="1" kern="1200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47.705.647</a:t>
          </a:r>
          <a:r>
            <a:rPr lang="es-MX" sz="2200" b="1" kern="1200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 Ton </a:t>
          </a:r>
          <a:r>
            <a:rPr lang="es-CO" sz="2200" b="0" kern="1200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sobre una meta propuesta de </a:t>
          </a:r>
          <a:r>
            <a:rPr lang="es-CO" sz="2200" b="1" kern="1200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41 MTon</a:t>
          </a:r>
          <a:endParaRPr lang="es-CO" sz="2200" b="1" kern="1200" dirty="0">
            <a:solidFill>
              <a:schemeClr val="accent1">
                <a:lumMod val="25000"/>
              </a:schemeClr>
            </a:solidFill>
            <a:effectLst/>
            <a:latin typeface="Candara" panose="020E0502030303020204" pitchFamily="34" charset="0"/>
            <a:ea typeface="+mn-ea"/>
            <a:cs typeface="+mn-cs"/>
          </a:endParaRP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200" kern="1200" dirty="0" smtClean="0"/>
            <a:t>Red Férrea del Pacífico </a:t>
          </a:r>
          <a:r>
            <a:rPr lang="es-CO" sz="2200" b="1" kern="1200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233,634</a:t>
          </a:r>
          <a:r>
            <a:rPr lang="es-CO" sz="2200" kern="1200" dirty="0" smtClean="0"/>
            <a:t> </a:t>
          </a:r>
          <a:r>
            <a:rPr lang="es-CO" sz="2200" b="1" kern="1200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Ton </a:t>
          </a:r>
          <a:r>
            <a:rPr lang="es-CO" sz="2200" b="0" kern="1200" dirty="0" smtClean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sobre una meta propuesta de 230.000 Ton</a:t>
          </a:r>
          <a:endParaRPr lang="es-CO" sz="2200" b="1" kern="1200" dirty="0">
            <a:solidFill>
              <a:schemeClr val="accent1">
                <a:lumMod val="25000"/>
              </a:schemeClr>
            </a:solidFill>
            <a:effectLst/>
            <a:latin typeface="Candara" panose="020E0502030303020204" pitchFamily="34" charset="0"/>
            <a:ea typeface="+mn-ea"/>
            <a:cs typeface="+mn-cs"/>
          </a:endParaRPr>
        </a:p>
      </dsp:txBody>
      <dsp:txXfrm>
        <a:off x="0" y="703307"/>
        <a:ext cx="5040560" cy="19022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4607"/>
          <a:ext cx="5289625" cy="1065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3144" tIns="150368" rIns="263144" bIns="150368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3700" kern="1200" smtClean="0"/>
            <a:t>Toneladas Transportadas</a:t>
          </a:r>
          <a:endParaRPr lang="es-CO" sz="3700" kern="1200" dirty="0"/>
        </a:p>
      </dsp:txBody>
      <dsp:txXfrm>
        <a:off x="0" y="24607"/>
        <a:ext cx="5289625" cy="1065600"/>
      </dsp:txXfrm>
    </dsp:sp>
    <dsp:sp modelId="{AB09D624-FF1B-4987-8110-30D214096F41}">
      <dsp:nvSpPr>
        <dsp:cNvPr id="0" name=""/>
        <dsp:cNvSpPr/>
      </dsp:nvSpPr>
      <dsp:spPr>
        <a:xfrm>
          <a:off x="0" y="1063117"/>
          <a:ext cx="5289625" cy="16250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018" tIns="144018" rIns="192024" bIns="216027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700" kern="1200" dirty="0" smtClean="0"/>
            <a:t>Red Férrea del Atlántico </a:t>
          </a:r>
          <a:r>
            <a:rPr lang="es-CO" sz="2000" b="1" kern="1200" dirty="0" smtClean="0">
              <a:solidFill>
                <a:schemeClr val="accent4"/>
              </a:solidFill>
            </a:rPr>
            <a:t>47,7 </a:t>
          </a:r>
          <a:r>
            <a:rPr lang="es-CO" sz="2000" b="1" kern="1200" dirty="0" smtClean="0">
              <a:solidFill>
                <a:schemeClr val="accent4"/>
              </a:solidFill>
            </a:rPr>
            <a:t>M-Ton</a:t>
          </a:r>
          <a:endParaRPr lang="es-CO" sz="2000" b="1" kern="1200" dirty="0">
            <a:solidFill>
              <a:schemeClr val="accent4"/>
            </a:solidFill>
          </a:endParaRP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700" kern="1200" dirty="0" smtClean="0"/>
            <a:t>Red Férrea del Pacifico </a:t>
          </a:r>
          <a:r>
            <a:rPr lang="es-CO" sz="2000" b="1" kern="1200" dirty="0" smtClean="0">
              <a:solidFill>
                <a:schemeClr val="accent4"/>
              </a:solidFill>
            </a:rPr>
            <a:t>29.000 </a:t>
          </a:r>
          <a:r>
            <a:rPr lang="es-CO" sz="2000" b="1" kern="1200" dirty="0" smtClean="0">
              <a:solidFill>
                <a:schemeClr val="accent4"/>
              </a:solidFill>
            </a:rPr>
            <a:t>Ton </a:t>
          </a:r>
          <a:endParaRPr lang="es-CO" sz="2000" b="1" kern="1200" dirty="0">
            <a:solidFill>
              <a:schemeClr val="accent4"/>
            </a:solidFill>
          </a:endParaRP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700" kern="1200" dirty="0" smtClean="0"/>
            <a:t>Inversiones por </a:t>
          </a:r>
          <a:r>
            <a:rPr lang="es-CO" sz="2700" kern="1200" dirty="0" smtClean="0"/>
            <a:t>COP </a:t>
          </a:r>
          <a:r>
            <a:rPr lang="es-CO" sz="2000" b="1" kern="1200" dirty="0" smtClean="0">
              <a:solidFill>
                <a:schemeClr val="accent4"/>
              </a:solidFill>
            </a:rPr>
            <a:t>$68.747 millones</a:t>
          </a:r>
          <a:endParaRPr lang="es-CO" sz="2000" b="1" kern="1200" dirty="0">
            <a:solidFill>
              <a:schemeClr val="accent4"/>
            </a:solidFill>
          </a:endParaRPr>
        </a:p>
      </dsp:txBody>
      <dsp:txXfrm>
        <a:off x="0" y="1063117"/>
        <a:ext cx="5289625" cy="16250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5/3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7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396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8998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2923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7559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5972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6134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5673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3724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D52C1F3E-BB29-49E7-9332-E23C0ECD21B4}" type="slidenum">
              <a:rPr lang="en-US" sz="1200" smtClean="0">
                <a:latin typeface="Candara"/>
              </a:rPr>
              <a:pPr eaLnBrk="1" hangingPunct="1"/>
              <a:t>18</a:t>
            </a:fld>
            <a:endParaRPr lang="en-US" sz="1200" smtClean="0">
              <a:latin typeface="Candara"/>
            </a:endParaRPr>
          </a:p>
        </p:txBody>
      </p:sp>
      <p:sp>
        <p:nvSpPr>
          <p:cNvPr id="65539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2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95463" y="1179513"/>
            <a:ext cx="10409238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0738" y="339725"/>
            <a:ext cx="5843587" cy="298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</p:spTree>
    <p:extLst>
      <p:ext uri="{BB962C8B-B14F-4D97-AF65-F5344CB8AC3E}">
        <p14:creationId xmlns:p14="http://schemas.microsoft.com/office/powerpoint/2010/main" val="39065634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1048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8862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7068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37483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D9466A8-1F92-47A7-B703-30F402239C48}" type="slidenum">
              <a:rPr lang="en-US" sz="1200" smtClean="0">
                <a:latin typeface="Candara"/>
              </a:rPr>
              <a:pPr eaLnBrk="1" hangingPunct="1"/>
              <a:t>22</a:t>
            </a:fld>
            <a:endParaRPr lang="en-US" sz="1200" smtClean="0">
              <a:latin typeface="Candara"/>
            </a:endParaRPr>
          </a:p>
        </p:txBody>
      </p:sp>
      <p:sp>
        <p:nvSpPr>
          <p:cNvPr id="54275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427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</p:spTree>
    <p:extLst>
      <p:ext uri="{BB962C8B-B14F-4D97-AF65-F5344CB8AC3E}">
        <p14:creationId xmlns:p14="http://schemas.microsoft.com/office/powerpoint/2010/main" val="3740841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F7AEEAE5-5E09-4A08-BC94-FD7C1906E753}" type="slidenum">
              <a:rPr lang="en-US" sz="1200" smtClean="0">
                <a:latin typeface="Candara"/>
              </a:rPr>
              <a:pPr eaLnBrk="1" hangingPunct="1"/>
              <a:t>25</a:t>
            </a:fld>
            <a:endParaRPr lang="en-US" sz="1200" smtClean="0">
              <a:latin typeface="Candara"/>
            </a:endParaRPr>
          </a:p>
        </p:txBody>
      </p:sp>
      <p:sp>
        <p:nvSpPr>
          <p:cNvPr id="55299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53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30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5302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6473002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54994596-6E8E-45DB-8898-CB3FAEEB7F85}" type="slidenum">
              <a:rPr lang="en-US" sz="1200" smtClean="0">
                <a:latin typeface="Candara"/>
              </a:rPr>
              <a:pPr eaLnBrk="1" hangingPunct="1"/>
              <a:t>26</a:t>
            </a:fld>
            <a:endParaRPr lang="en-US" sz="1200" smtClean="0">
              <a:latin typeface="Candara"/>
            </a:endParaRPr>
          </a:p>
        </p:txBody>
      </p:sp>
      <p:sp>
        <p:nvSpPr>
          <p:cNvPr id="5837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63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95463" y="1179513"/>
            <a:ext cx="10409238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0738" y="339725"/>
            <a:ext cx="5843587" cy="298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</p:spTree>
    <p:extLst>
      <p:ext uri="{BB962C8B-B14F-4D97-AF65-F5344CB8AC3E}">
        <p14:creationId xmlns:p14="http://schemas.microsoft.com/office/powerpoint/2010/main" val="29311998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26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543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825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0750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454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2310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326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5.png"/><Relationship Id="rId2" Type="http://schemas.openxmlformats.org/officeDocument/2006/relationships/tags" Target="../tags/tag10.xml"/><Relationship Id="rId16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6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4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1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143900" y="6356351"/>
            <a:ext cx="5429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81853" y="6198201"/>
            <a:ext cx="684423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3738" y="6305273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256305" y="1250343"/>
            <a:ext cx="7529885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 smtClean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2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77050" y="6288821"/>
            <a:ext cx="618324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03324" y="6363329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ítulo del patrón</a:t>
            </a:r>
            <a:endParaRPr lang="es-CO" dirty="0" smtClean="0"/>
          </a:p>
        </p:txBody>
      </p:sp>
      <p:sp>
        <p:nvSpPr>
          <p:cNvPr id="19" name="Rectangle 18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-1" y="6724298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5.emf"/><Relationship Id="rId11" Type="http://schemas.openxmlformats.org/officeDocument/2006/relationships/image" Target="../media/image28.jpe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7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0.bin"/><Relationship Id="rId10" Type="http://schemas.openxmlformats.org/officeDocument/2006/relationships/chart" Target="../charts/chart2.xml"/><Relationship Id="rId4" Type="http://schemas.openxmlformats.org/officeDocument/2006/relationships/notesSlide" Target="../notesSlides/notesSlide11.xml"/><Relationship Id="rId9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12" Type="http://schemas.openxmlformats.org/officeDocument/2006/relationships/image" Target="../media/image32.png"/><Relationship Id="rId2" Type="http://schemas.openxmlformats.org/officeDocument/2006/relationships/tags" Target="../tags/tag76.xml"/><Relationship Id="rId16" Type="http://schemas.openxmlformats.org/officeDocument/2006/relationships/chart" Target="../charts/chart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5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8.xml"/><Relationship Id="rId7" Type="http://schemas.openxmlformats.org/officeDocument/2006/relationships/image" Target="../media/image15.emf"/><Relationship Id="rId2" Type="http://schemas.openxmlformats.org/officeDocument/2006/relationships/tags" Target="../tags/tag7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0.xml"/><Relationship Id="rId7" Type="http://schemas.openxmlformats.org/officeDocument/2006/relationships/image" Target="../media/image15.emf"/><Relationship Id="rId2" Type="http://schemas.openxmlformats.org/officeDocument/2006/relationships/tags" Target="../tags/tag79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2.xml"/><Relationship Id="rId7" Type="http://schemas.openxmlformats.org/officeDocument/2006/relationships/image" Target="../media/image15.emf"/><Relationship Id="rId12" Type="http://schemas.openxmlformats.org/officeDocument/2006/relationships/image" Target="../media/image39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6.bin"/><Relationship Id="rId11" Type="http://schemas.openxmlformats.org/officeDocument/2006/relationships/chart" Target="../charts/chart4.xml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38.jpe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43.jpeg"/><Relationship Id="rId3" Type="http://schemas.openxmlformats.org/officeDocument/2006/relationships/tags" Target="../tags/tag84.xml"/><Relationship Id="rId7" Type="http://schemas.openxmlformats.org/officeDocument/2006/relationships/image" Target="../media/image15.emf"/><Relationship Id="rId12" Type="http://schemas.openxmlformats.org/officeDocument/2006/relationships/image" Target="../media/image42.jpeg"/><Relationship Id="rId2" Type="http://schemas.openxmlformats.org/officeDocument/2006/relationships/tags" Target="../tags/tag8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41.jpeg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40.jpe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47.jpeg"/><Relationship Id="rId3" Type="http://schemas.openxmlformats.org/officeDocument/2006/relationships/tags" Target="../tags/tag86.xml"/><Relationship Id="rId7" Type="http://schemas.openxmlformats.org/officeDocument/2006/relationships/image" Target="../media/image15.emf"/><Relationship Id="rId12" Type="http://schemas.openxmlformats.org/officeDocument/2006/relationships/image" Target="../media/image46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45.jpe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44.jpe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88.xml"/><Relationship Id="rId7" Type="http://schemas.openxmlformats.org/officeDocument/2006/relationships/image" Target="../media/image16.png"/><Relationship Id="rId2" Type="http://schemas.openxmlformats.org/officeDocument/2006/relationships/tags" Target="../tags/tag8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49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90.xml"/><Relationship Id="rId7" Type="http://schemas.openxmlformats.org/officeDocument/2006/relationships/image" Target="../media/image15.emf"/><Relationship Id="rId12" Type="http://schemas.openxmlformats.org/officeDocument/2006/relationships/image" Target="../media/image51.jpeg"/><Relationship Id="rId2" Type="http://schemas.openxmlformats.org/officeDocument/2006/relationships/tags" Target="../tags/tag8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30.bin"/><Relationship Id="rId11" Type="http://schemas.openxmlformats.org/officeDocument/2006/relationships/image" Target="../media/image50.jpeg"/><Relationship Id="rId5" Type="http://schemas.openxmlformats.org/officeDocument/2006/relationships/notesSlide" Target="../notesSlides/notesSlide19.xml"/><Relationship Id="rId10" Type="http://schemas.openxmlformats.org/officeDocument/2006/relationships/chart" Target="../charts/chart5.xml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55.jpeg"/><Relationship Id="rId3" Type="http://schemas.openxmlformats.org/officeDocument/2006/relationships/tags" Target="../tags/tag92.xml"/><Relationship Id="rId7" Type="http://schemas.openxmlformats.org/officeDocument/2006/relationships/image" Target="../media/image15.emf"/><Relationship Id="rId12" Type="http://schemas.openxmlformats.org/officeDocument/2006/relationships/image" Target="../media/image54.jpeg"/><Relationship Id="rId2" Type="http://schemas.openxmlformats.org/officeDocument/2006/relationships/tags" Target="../tags/tag91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53.jpeg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52.jpe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59.jpeg"/><Relationship Id="rId3" Type="http://schemas.openxmlformats.org/officeDocument/2006/relationships/tags" Target="../tags/tag94.xml"/><Relationship Id="rId7" Type="http://schemas.openxmlformats.org/officeDocument/2006/relationships/image" Target="../media/image15.emf"/><Relationship Id="rId12" Type="http://schemas.openxmlformats.org/officeDocument/2006/relationships/image" Target="../media/image58.png"/><Relationship Id="rId2" Type="http://schemas.openxmlformats.org/officeDocument/2006/relationships/tags" Target="../tags/tag93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2.bin"/><Relationship Id="rId11" Type="http://schemas.openxmlformats.org/officeDocument/2006/relationships/image" Target="../media/image57.jpeg"/><Relationship Id="rId5" Type="http://schemas.openxmlformats.org/officeDocument/2006/relationships/notesSlide" Target="../notesSlides/notesSlide21.xml"/><Relationship Id="rId10" Type="http://schemas.openxmlformats.org/officeDocument/2006/relationships/image" Target="../media/image56.pn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microsoft.com/office/2007/relationships/diagramDrawing" Target="../diagrams/drawing2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12" Type="http://schemas.openxmlformats.org/officeDocument/2006/relationships/diagramColors" Target="../diagrams/colors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5.emf"/><Relationship Id="rId11" Type="http://schemas.openxmlformats.org/officeDocument/2006/relationships/diagramQuickStyle" Target="../diagrams/quickStyle2.xml"/><Relationship Id="rId5" Type="http://schemas.openxmlformats.org/officeDocument/2006/relationships/oleObject" Target="../embeddings/oleObject33.bin"/><Relationship Id="rId10" Type="http://schemas.openxmlformats.org/officeDocument/2006/relationships/diagramLayout" Target="../diagrams/layout2.xml"/><Relationship Id="rId4" Type="http://schemas.openxmlformats.org/officeDocument/2006/relationships/notesSlide" Target="../notesSlides/notesSlide22.xml"/><Relationship Id="rId9" Type="http://schemas.openxmlformats.org/officeDocument/2006/relationships/diagramData" Target="../diagrams/data2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microsoft.com/office/2007/relationships/hdphoto" Target="../media/hdphoto2.wdp"/><Relationship Id="rId2" Type="http://schemas.openxmlformats.org/officeDocument/2006/relationships/tags" Target="../tags/tag9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3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9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microsoft.com/office/2007/relationships/hdphoto" Target="../media/hdphoto1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12" Type="http://schemas.openxmlformats.org/officeDocument/2006/relationships/image" Target="../media/image13.png"/><Relationship Id="rId2" Type="http://schemas.openxmlformats.org/officeDocument/2006/relationships/tags" Target="../tags/tag6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1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jpeg"/><Relationship Id="rId1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diagramData" Target="../diagrams/data1.xml"/><Relationship Id="rId12" Type="http://schemas.openxmlformats.org/officeDocument/2006/relationships/image" Target="../media/image16.png"/><Relationship Id="rId2" Type="http://schemas.openxmlformats.org/officeDocument/2006/relationships/tags" Target="../tags/tag6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4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66.xml"/><Relationship Id="rId7" Type="http://schemas.openxmlformats.org/officeDocument/2006/relationships/image" Target="../media/image15.emf"/><Relationship Id="rId2" Type="http://schemas.openxmlformats.org/officeDocument/2006/relationships/tags" Target="../tags/tag6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13" Type="http://schemas.openxmlformats.org/officeDocument/2006/relationships/image" Target="../media/image21.emf"/><Relationship Id="rId3" Type="http://schemas.openxmlformats.org/officeDocument/2006/relationships/tags" Target="../tags/tag68.xml"/><Relationship Id="rId7" Type="http://schemas.openxmlformats.org/officeDocument/2006/relationships/notesSlide" Target="../notesSlides/notesSlide8.xml"/><Relationship Id="rId12" Type="http://schemas.openxmlformats.org/officeDocument/2006/relationships/image" Target="../media/image20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4.xml"/><Relationship Id="rId11" Type="http://schemas.microsoft.com/office/2007/relationships/hdphoto" Target="../media/hdphoto2.wdp"/><Relationship Id="rId5" Type="http://schemas.openxmlformats.org/officeDocument/2006/relationships/tags" Target="../tags/tag70.xml"/><Relationship Id="rId10" Type="http://schemas.openxmlformats.org/officeDocument/2006/relationships/image" Target="../media/image16.png"/><Relationship Id="rId4" Type="http://schemas.openxmlformats.org/officeDocument/2006/relationships/tags" Target="../tags/tag69.xml"/><Relationship Id="rId9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13" Type="http://schemas.openxmlformats.org/officeDocument/2006/relationships/image" Target="../media/image24.jpeg"/><Relationship Id="rId3" Type="http://schemas.openxmlformats.org/officeDocument/2006/relationships/tags" Target="../tags/tag72.xml"/><Relationship Id="rId7" Type="http://schemas.openxmlformats.org/officeDocument/2006/relationships/oleObject" Target="../embeddings/oleObject18.bin"/><Relationship Id="rId12" Type="http://schemas.openxmlformats.org/officeDocument/2006/relationships/image" Target="../media/image23.jpeg"/><Relationship Id="rId2" Type="http://schemas.openxmlformats.org/officeDocument/2006/relationships/tags" Target="../tags/tag71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2.jpeg"/><Relationship Id="rId5" Type="http://schemas.openxmlformats.org/officeDocument/2006/relationships/slideLayout" Target="../slideLayouts/slideLayout4.xml"/><Relationship Id="rId10" Type="http://schemas.microsoft.com/office/2007/relationships/hdphoto" Target="../media/hdphoto2.wdp"/><Relationship Id="rId4" Type="http://schemas.openxmlformats.org/officeDocument/2006/relationships/tags" Target="../tags/tag73.xml"/><Relationship Id="rId9" Type="http://schemas.openxmlformats.org/officeDocument/2006/relationships/image" Target="../media/image16.png"/><Relationship Id="rId1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Avances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Modo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Férreo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dirty="0" smtClean="0"/>
              <a:t>Junio de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19" name="CuadroTexto 18"/>
          <p:cNvSpPr txBox="1"/>
          <p:nvPr/>
        </p:nvSpPr>
        <p:spPr>
          <a:xfrm>
            <a:off x="1939185" y="143048"/>
            <a:ext cx="3053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 smtClean="0">
                <a:latin typeface="Candara" panose="020E0502030303020204" pitchFamily="34" charset="0"/>
              </a:rPr>
              <a:t>RED FÉRREA DEL ATLÁNTICO</a:t>
            </a:r>
            <a:endParaRPr lang="es-CO" b="1" dirty="0">
              <a:latin typeface="Candara" panose="020E0502030303020204" pitchFamily="34" charset="0"/>
            </a:endParaRPr>
          </a:p>
        </p:txBody>
      </p:sp>
      <p:graphicFrame>
        <p:nvGraphicFramePr>
          <p:cNvPr id="8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233962"/>
              </p:ext>
            </p:extLst>
          </p:nvPr>
        </p:nvGraphicFramePr>
        <p:xfrm>
          <a:off x="2004646" y="1268760"/>
          <a:ext cx="6814039" cy="306441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6814039"/>
              </a:tblGrid>
              <a:tr h="322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800" kern="1200" dirty="0" smtClean="0">
                          <a:effectLst/>
                        </a:rPr>
                        <a:t>ACTIVIDADES DESTACADAS 2015 -  RED</a:t>
                      </a:r>
                      <a:r>
                        <a:rPr lang="es-CO" sz="1800" kern="1200" baseline="0" dirty="0" smtClean="0">
                          <a:effectLst/>
                        </a:rPr>
                        <a:t> FÉRREA DEL ATLÁNTICO</a:t>
                      </a:r>
                      <a:endParaRPr lang="es-CO" sz="1800" kern="1200" dirty="0">
                        <a:solidFill>
                          <a:schemeClr val="accent1">
                            <a:lumMod val="25000"/>
                          </a:schemeClr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</a:tr>
              <a:tr h="0">
                <a:tc>
                  <a:txBody>
                    <a:bodyPr/>
                    <a:lstStyle/>
                    <a:p>
                      <a:pPr marL="0" lvl="0" indent="0" algn="just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s-MX" sz="900" kern="1200" dirty="0" smtClean="0">
                        <a:effectLst/>
                      </a:endParaRP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100" dirty="0" smtClean="0">
                          <a:effectLst/>
                        </a:rPr>
                        <a:t>Corredor</a:t>
                      </a:r>
                      <a:r>
                        <a:rPr lang="es-MX" sz="1100" baseline="0" dirty="0" smtClean="0">
                          <a:effectLst/>
                        </a:rPr>
                        <a:t> férreo operando con normalidad en sus 192 Km.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100" kern="1200" dirty="0" smtClean="0">
                          <a:effectLst/>
                        </a:rPr>
                        <a:t>Se levantan las restricciones nocturnas vigentes sobre el corredor desde el mes de febrero de 2015 a noviembre 2015 en los sectores</a:t>
                      </a:r>
                      <a:r>
                        <a:rPr lang="es-MX" sz="1100" kern="1200" baseline="0" dirty="0" smtClean="0">
                          <a:effectLst/>
                        </a:rPr>
                        <a:t> de Bosconia, Algarrobo, Fundación y Zona Bananera</a:t>
                      </a:r>
                      <a:endParaRPr lang="es-MX" sz="1100" kern="1200" dirty="0" smtClean="0">
                        <a:effectLst/>
                      </a:endParaRP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kern="1200" spc="0" baseline="0" dirty="0" smtClean="0">
                          <a:effectLst/>
                        </a:rPr>
                        <a:t>E</a:t>
                      </a:r>
                      <a:r>
                        <a:rPr lang="es-CO" sz="1100" kern="1200" baseline="0" dirty="0" smtClean="0">
                          <a:effectLst/>
                        </a:rPr>
                        <a:t>xpedición </a:t>
                      </a:r>
                      <a:r>
                        <a:rPr lang="es-CO" sz="1100" kern="1200" baseline="0" dirty="0" smtClean="0">
                          <a:effectLst/>
                        </a:rPr>
                        <a:t>Decreto </a:t>
                      </a:r>
                      <a:r>
                        <a:rPr lang="es-CO" sz="1100" kern="1200" baseline="0" dirty="0" smtClean="0">
                          <a:effectLst/>
                        </a:rPr>
                        <a:t>1802 del 9 de </a:t>
                      </a:r>
                      <a:r>
                        <a:rPr lang="es-CO" sz="1100" kern="1200" baseline="0" dirty="0" smtClean="0">
                          <a:effectLst/>
                        </a:rPr>
                        <a:t>Sep de </a:t>
                      </a:r>
                      <a:r>
                        <a:rPr lang="es-CO" sz="1100" kern="1200" baseline="0" dirty="0" smtClean="0">
                          <a:effectLst/>
                        </a:rPr>
                        <a:t>2015 y 1977 del 6 de </a:t>
                      </a:r>
                      <a:r>
                        <a:rPr lang="es-CO" sz="1100" kern="1200" baseline="0" dirty="0" smtClean="0">
                          <a:effectLst/>
                        </a:rPr>
                        <a:t>Oct de </a:t>
                      </a:r>
                      <a:r>
                        <a:rPr lang="es-CO" sz="1100" kern="1200" baseline="0" dirty="0" smtClean="0">
                          <a:effectLst/>
                        </a:rPr>
                        <a:t>2015 los cuales permitieron el tráfico ferroviario todos los días las 24 horas del día en las zonas con restricción nocturna y la movilización del carbón que se produzca en los municipios de Norte de Santander cobijados por </a:t>
                      </a:r>
                      <a:r>
                        <a:rPr lang="es-CO" sz="1100" kern="1200" dirty="0" smtClean="0">
                          <a:effectLst/>
                        </a:rPr>
                        <a:t>el Decreto 1770 de 2015, a través de los puertos de servicio privado de la Costa Caribe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kern="1200" dirty="0" smtClean="0">
                          <a:effectLst/>
                        </a:rPr>
                        <a:t>Record histórico</a:t>
                      </a:r>
                      <a:r>
                        <a:rPr lang="es-CO" sz="1100" kern="1200" baseline="0" dirty="0" smtClean="0">
                          <a:effectLst/>
                        </a:rPr>
                        <a:t> de movilización de carga en la concesión </a:t>
                      </a:r>
                      <a:r>
                        <a:rPr lang="es-CO" sz="1100" kern="1200" baseline="0" dirty="0" smtClean="0">
                          <a:effectLst/>
                        </a:rPr>
                        <a:t>47,7 MTon frente a la proyección establecida de 41 MTon</a:t>
                      </a:r>
                      <a:endParaRPr lang="es-CO" sz="1100" kern="1200" baseline="0" dirty="0" smtClean="0">
                        <a:effectLst/>
                      </a:endParaRP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kern="1200" baseline="0" dirty="0" smtClean="0">
                          <a:effectLst/>
                        </a:rPr>
                        <a:t>Entrada en funcionamiento del sistema de control de trenes ITCS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kern="1200" baseline="0" dirty="0" smtClean="0">
                          <a:effectLst/>
                        </a:rPr>
                        <a:t>Obtención de las licencias ambientales para los sectores de </a:t>
                      </a:r>
                      <a:r>
                        <a:rPr lang="es-MX" sz="1100" baseline="0" dirty="0" smtClean="0">
                          <a:effectLst/>
                        </a:rPr>
                        <a:t>Guamachito, Varela y Rio Frío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100" kern="1200" dirty="0" smtClean="0">
                          <a:effectLst/>
                        </a:rPr>
                        <a:t>Inicio de la construcción de las primeras 22 viviendas en el marco del contrato de reasentamiento</a:t>
                      </a:r>
                      <a:endParaRPr lang="es-MX" sz="1100" kern="1200" baseline="0" dirty="0" smtClean="0">
                        <a:effectLst/>
                      </a:endParaRP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100" kern="1200" baseline="0" dirty="0" smtClean="0">
                          <a:effectLst/>
                        </a:rPr>
                        <a:t>Ejecución satisfactoria del Plan de reasentamiento en los sectores de </a:t>
                      </a:r>
                      <a:r>
                        <a:rPr lang="es-MX" sz="1100" baseline="0" dirty="0" smtClean="0">
                          <a:effectLst/>
                        </a:rPr>
                        <a:t>Loma Colorada, Algarrobo y Lleras</a:t>
                      </a:r>
                      <a:endParaRPr lang="es-MX" sz="1100" kern="1200" dirty="0" smtClean="0">
                        <a:solidFill>
                          <a:schemeClr val="accent1">
                            <a:lumMod val="25000"/>
                          </a:schemeClr>
                        </a:solidFill>
                        <a:effectLst/>
                        <a:latin typeface="Candara" panose="020E05020303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/>
                </a:tc>
              </a:tr>
            </a:tbl>
          </a:graphicData>
        </a:graphic>
      </p:graphicFrame>
      <p:pic>
        <p:nvPicPr>
          <p:cNvPr id="9" name="Imagen 8" descr="C:\Users\jrueda\Desktop\Fotos trenes\Fotos trenes\DSC_0586.JPG"/>
          <p:cNvPicPr/>
          <p:nvPr/>
        </p:nvPicPr>
        <p:blipFill>
          <a:blip r:embed="rId9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1234" y="4443104"/>
            <a:ext cx="2100862" cy="1658692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pic>
        <p:nvPicPr>
          <p:cNvPr id="10" name="Imagen 9" descr="C:\Users\jrueda\AppData\Local\Microsoft\Windows\Temporary Internet Files\Content.Word\972986a508b216cbe79f2b69b2351c18.jpg"/>
          <p:cNvPicPr/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2474" y="4443104"/>
            <a:ext cx="2217947" cy="165869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11" name="Imagen 10" descr="C:\Supervisión FENOCO\Vigencia 2015\Informes de Comisión\Contraloria\IMG_1196.JPG"/>
          <p:cNvPicPr/>
          <p:nvPr/>
        </p:nvPicPr>
        <p:blipFill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4646" y="4443104"/>
            <a:ext cx="2100862" cy="165869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600000" lon="19475206" rev="21253487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0390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graphicFrame>
        <p:nvGraphicFramePr>
          <p:cNvPr id="6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627359"/>
              </p:ext>
            </p:extLst>
          </p:nvPr>
        </p:nvGraphicFramePr>
        <p:xfrm>
          <a:off x="2289330" y="1104298"/>
          <a:ext cx="6192570" cy="29776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6192570"/>
              </a:tblGrid>
              <a:tr h="2725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400" kern="12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Candara" panose="020E0502030303020204" pitchFamily="34" charset="0"/>
                        </a:rPr>
                        <a:t>AVANCES REASENTAMIENTOS </a:t>
                      </a:r>
                      <a:r>
                        <a:rPr lang="es-CO" sz="1400" kern="12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Candara" panose="020E0502030303020204" pitchFamily="34" charset="0"/>
                        </a:rPr>
                        <a:t>POBLACIONAL (Loma</a:t>
                      </a:r>
                      <a:r>
                        <a:rPr lang="es-CO" sz="1400" kern="1200" baseline="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Candara" panose="020E0502030303020204" pitchFamily="34" charset="0"/>
                        </a:rPr>
                        <a:t> Colorada – Algarrobo)</a:t>
                      </a:r>
                      <a:endParaRPr lang="es-CO" sz="1400" kern="12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</a:tr>
            </a:tbl>
          </a:graphicData>
        </a:graphic>
      </p:graphicFrame>
      <p:sp>
        <p:nvSpPr>
          <p:cNvPr id="20" name="CuadroTexto 19"/>
          <p:cNvSpPr txBox="1"/>
          <p:nvPr/>
        </p:nvSpPr>
        <p:spPr>
          <a:xfrm>
            <a:off x="1939185" y="143048"/>
            <a:ext cx="3053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 smtClean="0">
                <a:latin typeface="Candara" panose="020E0502030303020204" pitchFamily="34" charset="0"/>
              </a:rPr>
              <a:t>RED FÉRREA DEL ATLÁNTICO</a:t>
            </a:r>
            <a:endParaRPr lang="es-CO" b="1" dirty="0">
              <a:latin typeface="Candara" panose="020E0502030303020204" pitchFamily="34" charset="0"/>
            </a:endParaRPr>
          </a:p>
        </p:txBody>
      </p:sp>
      <p:graphicFrame>
        <p:nvGraphicFramePr>
          <p:cNvPr id="15" name="Gráfico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1404162"/>
              </p:ext>
            </p:extLst>
          </p:nvPr>
        </p:nvGraphicFramePr>
        <p:xfrm>
          <a:off x="2457049" y="1608260"/>
          <a:ext cx="5859339" cy="2198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4400716"/>
              </p:ext>
            </p:extLst>
          </p:nvPr>
        </p:nvGraphicFramePr>
        <p:xfrm>
          <a:off x="2457048" y="3903786"/>
          <a:ext cx="5859339" cy="2356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348308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graphicFrame>
        <p:nvGraphicFramePr>
          <p:cNvPr id="6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482277"/>
              </p:ext>
            </p:extLst>
          </p:nvPr>
        </p:nvGraphicFramePr>
        <p:xfrm>
          <a:off x="2289330" y="1104298"/>
          <a:ext cx="6192570" cy="29776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6192570"/>
              </a:tblGrid>
              <a:tr h="2725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400" kern="12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Candara" panose="020E0502030303020204" pitchFamily="34" charset="0"/>
                        </a:rPr>
                        <a:t>AVANCES REASENTAMIENTOS POBLACIONAL</a:t>
                      </a:r>
                      <a:endParaRPr lang="es-CO" sz="1400" kern="12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</a:tr>
            </a:tbl>
          </a:graphicData>
        </a:graphic>
      </p:graphicFrame>
      <p:sp>
        <p:nvSpPr>
          <p:cNvPr id="20" name="CuadroTexto 19"/>
          <p:cNvSpPr txBox="1"/>
          <p:nvPr/>
        </p:nvSpPr>
        <p:spPr>
          <a:xfrm>
            <a:off x="1939185" y="143048"/>
            <a:ext cx="3053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 smtClean="0">
                <a:latin typeface="Candara" panose="020E0502030303020204" pitchFamily="34" charset="0"/>
              </a:rPr>
              <a:t>RED FÉRREA DEL ATLÁNTICO</a:t>
            </a:r>
            <a:endParaRPr lang="es-CO" b="1" dirty="0">
              <a:latin typeface="Candara" panose="020E0502030303020204" pitchFamily="34" charset="0"/>
            </a:endParaRPr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28449" y="4390821"/>
            <a:ext cx="3512322" cy="1899472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93640" y="4390821"/>
            <a:ext cx="3595270" cy="1829797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82613" y="4735068"/>
            <a:ext cx="1559399" cy="1165950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30985" y="4757588"/>
            <a:ext cx="1538868" cy="1150600"/>
          </a:xfrm>
          <a:prstGeom prst="rect">
            <a:avLst/>
          </a:prstGeom>
        </p:spPr>
      </p:pic>
      <p:pic>
        <p:nvPicPr>
          <p:cNvPr id="23" name="Imagen 2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29744" y="5908188"/>
            <a:ext cx="3300670" cy="312430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12060" y="4375319"/>
            <a:ext cx="884983" cy="400467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594215" y="4390821"/>
            <a:ext cx="824133" cy="388109"/>
          </a:xfrm>
          <a:prstGeom prst="rect">
            <a:avLst/>
          </a:prstGeom>
        </p:spPr>
      </p:pic>
      <p:graphicFrame>
        <p:nvGraphicFramePr>
          <p:cNvPr id="26" name="Gráfico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7752453"/>
              </p:ext>
            </p:extLst>
          </p:nvPr>
        </p:nvGraphicFramePr>
        <p:xfrm>
          <a:off x="2409502" y="1541343"/>
          <a:ext cx="5952226" cy="2700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3330188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039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29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30" name="CuadroTexto 29"/>
          <p:cNvSpPr txBox="1"/>
          <p:nvPr/>
        </p:nvSpPr>
        <p:spPr>
          <a:xfrm>
            <a:off x="1892175" y="2480650"/>
            <a:ext cx="68715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 smtClean="0"/>
              <a:t>Con ocasión de la Ola Invernal de 2011, la infraestructura férrea sufrió</a:t>
            </a:r>
          </a:p>
          <a:p>
            <a:pPr algn="ctr"/>
            <a:r>
              <a:rPr lang="es-CO" dirty="0" smtClean="0"/>
              <a:t>una grave afectación, con el fin de rehabilitar el corredor férreo se </a:t>
            </a:r>
          </a:p>
          <a:p>
            <a:pPr algn="ctr"/>
            <a:r>
              <a:rPr lang="es-CO" dirty="0" smtClean="0"/>
              <a:t>suscribieron 2 contratos de obras pública, estos son:</a:t>
            </a:r>
          </a:p>
          <a:p>
            <a:endParaRPr lang="es-CO" dirty="0"/>
          </a:p>
          <a:p>
            <a:endParaRPr lang="es-CO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dirty="0" smtClean="0"/>
              <a:t>Corredor Bogotá – Belencito (Contrato de obra No. 356 de 2013)</a:t>
            </a:r>
          </a:p>
          <a:p>
            <a:pPr marL="285750" indent="-285750">
              <a:buFontTx/>
              <a:buChar char="-"/>
            </a:pPr>
            <a:endParaRPr lang="es-CO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dirty="0" smtClean="0"/>
              <a:t>Corredor la Dorada – Chiriguaná (Contrato de Obra No. 418 de 2013)</a:t>
            </a:r>
            <a:endParaRPr lang="es-CO" dirty="0"/>
          </a:p>
        </p:txBody>
      </p:sp>
      <p:sp>
        <p:nvSpPr>
          <p:cNvPr id="31" name="Rectángulo 30"/>
          <p:cNvSpPr/>
          <p:nvPr/>
        </p:nvSpPr>
        <p:spPr>
          <a:xfrm>
            <a:off x="2457049" y="387146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84822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8857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-27384"/>
            <a:ext cx="1800200" cy="6845889"/>
          </a:xfrm>
          <a:prstGeom prst="rect">
            <a:avLst/>
          </a:prstGeom>
          <a:noFill/>
        </p:spPr>
      </p:pic>
      <p:sp>
        <p:nvSpPr>
          <p:cNvPr id="34" name="Rectángulo 33"/>
          <p:cNvSpPr/>
          <p:nvPr/>
        </p:nvSpPr>
        <p:spPr>
          <a:xfrm>
            <a:off x="2457049" y="387146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8" name="Imagen 7"/>
          <p:cNvPicPr/>
          <p:nvPr/>
        </p:nvPicPr>
        <p:blipFill rotWithShape="1"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95100" y="1825685"/>
            <a:ext cx="3028592" cy="354445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30 CuadroTexto"/>
          <p:cNvSpPr txBox="1">
            <a:spLocks noChangeArrowheads="1"/>
          </p:cNvSpPr>
          <p:nvPr/>
        </p:nvSpPr>
        <p:spPr bwMode="auto">
          <a:xfrm flipH="1">
            <a:off x="5033461" y="4088270"/>
            <a:ext cx="3965684" cy="307777"/>
          </a:xfrm>
          <a:prstGeom prst="rect">
            <a:avLst/>
          </a:prstGeom>
          <a:solidFill>
            <a:srgbClr val="E36B1A"/>
          </a:solidFill>
          <a:ln w="38100" cap="flat" cmpd="sng" algn="ctr">
            <a:solidFill>
              <a:srgbClr val="E36B1A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22041" indent="-422041" defTabSz="844083">
              <a:spcBef>
                <a:spcPts val="554"/>
              </a:spcBef>
              <a:defRPr/>
            </a:pPr>
            <a:r>
              <a:rPr lang="es-CO" sz="1400" kern="0" dirty="0">
                <a:solidFill>
                  <a:prstClr val="white"/>
                </a:solidFill>
                <a:latin typeface="Candara" panose="020E0502030303020204" pitchFamily="34" charset="0"/>
                <a:cs typeface="Arial" pitchFamily="34" charset="0"/>
              </a:rPr>
              <a:t>ESTADO ACTUAL</a:t>
            </a:r>
          </a:p>
        </p:txBody>
      </p:sp>
      <p:sp>
        <p:nvSpPr>
          <p:cNvPr id="10" name="30 CuadroTexto"/>
          <p:cNvSpPr txBox="1">
            <a:spLocks noChangeArrowheads="1"/>
          </p:cNvSpPr>
          <p:nvPr/>
        </p:nvSpPr>
        <p:spPr bwMode="auto">
          <a:xfrm flipH="1">
            <a:off x="5033461" y="1825684"/>
            <a:ext cx="3965684" cy="319639"/>
          </a:xfrm>
          <a:prstGeom prst="rect">
            <a:avLst/>
          </a:prstGeom>
          <a:solidFill>
            <a:srgbClr val="094677"/>
          </a:solidFill>
          <a:ln w="38100" cap="flat" cmpd="sng" algn="ctr">
            <a:solidFill>
              <a:srgbClr val="094677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22041" indent="-422041" defTabSz="844083">
              <a:spcBef>
                <a:spcPts val="554"/>
              </a:spcBef>
              <a:defRPr/>
            </a:pPr>
            <a:r>
              <a:rPr lang="es-CO" sz="1400" kern="0" dirty="0">
                <a:solidFill>
                  <a:prstClr val="white"/>
                </a:solidFill>
                <a:latin typeface="Candara" panose="020E0502030303020204" pitchFamily="34" charset="0"/>
                <a:cs typeface="Arial" pitchFamily="34" charset="0"/>
              </a:rPr>
              <a:t>INFORMACIÓN GENERAL</a:t>
            </a:r>
          </a:p>
        </p:txBody>
      </p:sp>
      <p:graphicFrame>
        <p:nvGraphicFramePr>
          <p:cNvPr id="11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7016251"/>
              </p:ext>
            </p:extLst>
          </p:nvPr>
        </p:nvGraphicFramePr>
        <p:xfrm>
          <a:off x="5033461" y="4473631"/>
          <a:ext cx="3984448" cy="267286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167439"/>
                <a:gridCol w="1817009"/>
              </a:tblGrid>
              <a:tr h="212669">
                <a:tc>
                  <a:txBody>
                    <a:bodyPr/>
                    <a:lstStyle/>
                    <a:p>
                      <a:r>
                        <a:rPr lang="es-ES" sz="1200" u="none" strike="noStrike" dirty="0" smtClean="0">
                          <a:effectLst/>
                          <a:latin typeface="Candara" panose="020E0502030303020204" pitchFamily="34" charset="0"/>
                        </a:rPr>
                        <a:t>AVANCE</a:t>
                      </a:r>
                      <a:r>
                        <a:rPr lang="es-ES" sz="1200" u="none" strike="noStrike" baseline="0" dirty="0" smtClean="0">
                          <a:effectLst/>
                          <a:latin typeface="Candara" panose="020E0502030303020204" pitchFamily="34" charset="0"/>
                        </a:rPr>
                        <a:t> DE </a:t>
                      </a:r>
                      <a:r>
                        <a:rPr lang="es-ES" sz="1200" u="none" strike="noStrike" dirty="0" smtClean="0">
                          <a:effectLst/>
                          <a:latin typeface="Candara" panose="020E0502030303020204" pitchFamily="34" charset="0"/>
                        </a:rPr>
                        <a:t>OBRA </a:t>
                      </a:r>
                      <a:endParaRPr lang="es-CO" sz="1200" b="1" dirty="0"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0%</a:t>
                      </a:r>
                      <a:endParaRPr lang="es-CO" sz="1200" b="1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2" name="Tab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036506"/>
              </p:ext>
            </p:extLst>
          </p:nvPr>
        </p:nvGraphicFramePr>
        <p:xfrm>
          <a:off x="5033462" y="2238628"/>
          <a:ext cx="3965683" cy="1772058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643877"/>
                <a:gridCol w="1321806"/>
              </a:tblGrid>
              <a:tr h="3031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s-ES" sz="1050" kern="1200" dirty="0" smtClean="0">
                          <a:latin typeface="Candara" panose="020E0502030303020204" pitchFamily="34" charset="0"/>
                        </a:rPr>
                        <a:t>Valor del proyecto (ACTUAL)</a:t>
                      </a:r>
                      <a:endParaRPr lang="es-CO" sz="1050" b="1" kern="1200" dirty="0">
                        <a:solidFill>
                          <a:schemeClr val="tx1"/>
                        </a:solidFill>
                        <a:latin typeface="Candara" panose="020E0502030303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$ </a:t>
                      </a:r>
                      <a:r>
                        <a:rPr lang="es-CO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8.280.554.966 </a:t>
                      </a:r>
                      <a:endParaRPr lang="es-CO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4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 smtClean="0">
                          <a:latin typeface="Candara" panose="020E0502030303020204" pitchFamily="34" charset="0"/>
                        </a:rPr>
                        <a:t>Inversión en el Dpto. de Cundinamarca</a:t>
                      </a:r>
                      <a:endParaRPr lang="es-CO" sz="1050" b="1" kern="1200" dirty="0" smtClean="0">
                        <a:solidFill>
                          <a:schemeClr val="tx1"/>
                        </a:solidFill>
                        <a:latin typeface="Candara" panose="020E0502030303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$ </a:t>
                      </a:r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5.839.307.32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 smtClean="0">
                          <a:latin typeface="Candara" panose="020E0502030303020204" pitchFamily="34" charset="0"/>
                        </a:rPr>
                        <a:t>Inversión en el Dpto. de Boyacá</a:t>
                      </a:r>
                      <a:endParaRPr lang="es-CO" sz="1050" b="1" kern="1200" dirty="0" smtClean="0">
                        <a:solidFill>
                          <a:schemeClr val="tx1"/>
                        </a:solidFill>
                        <a:latin typeface="Candara" panose="020E0502030303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$ 72.441.247.638 </a:t>
                      </a:r>
                      <a:endParaRPr lang="es-CO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354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 smtClean="0">
                          <a:effectLst/>
                          <a:latin typeface="Candara" panose="020E0502030303020204" pitchFamily="34" charset="0"/>
                        </a:rPr>
                        <a:t>Fecha Inicio del Contrato</a:t>
                      </a:r>
                      <a:endParaRPr lang="es-MX" sz="1050" b="1" kern="1200" dirty="0" smtClean="0">
                        <a:solidFill>
                          <a:srgbClr val="094677"/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01 de Nov. de 2013</a:t>
                      </a:r>
                      <a:endParaRPr lang="es-MX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550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 smtClean="0">
                          <a:effectLst/>
                          <a:latin typeface="Candara" panose="020E0502030303020204" pitchFamily="34" charset="0"/>
                        </a:rPr>
                        <a:t>Fecha Finalización del Contrato</a:t>
                      </a:r>
                      <a:endParaRPr lang="es-MX" sz="1050" b="1" kern="1200" dirty="0" smtClean="0">
                        <a:solidFill>
                          <a:srgbClr val="094677"/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0 de Nov. de 2016</a:t>
                      </a:r>
                      <a:endParaRPr lang="es-MX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5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u="none" strike="noStrike" dirty="0" smtClean="0">
                          <a:effectLst/>
                          <a:latin typeface="Candara" panose="020E0502030303020204" pitchFamily="34" charset="0"/>
                        </a:rPr>
                        <a:t>Fecha</a:t>
                      </a:r>
                      <a:r>
                        <a:rPr lang="es-ES" sz="1050" u="none" strike="noStrike" baseline="0" dirty="0" smtClean="0">
                          <a:effectLst/>
                          <a:latin typeface="Candara" panose="020E0502030303020204" pitchFamily="34" charset="0"/>
                        </a:rPr>
                        <a:t> inicio de obras </a:t>
                      </a:r>
                      <a:endParaRPr lang="es-ES" sz="1050" b="1" u="none" strike="noStrike" dirty="0" smtClean="0">
                        <a:solidFill>
                          <a:srgbClr val="094677"/>
                        </a:solidFill>
                        <a:effectLst/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</a:t>
                      </a:r>
                      <a:r>
                        <a:rPr lang="es-CO" sz="1050" b="1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e Abr </a:t>
                      </a:r>
                      <a:r>
                        <a:rPr lang="es-CO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 2014</a:t>
                      </a:r>
                      <a:endParaRPr lang="es-CO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91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u="none" strike="noStrike" dirty="0" smtClean="0">
                          <a:effectLst/>
                          <a:latin typeface="Candara" panose="020E0502030303020204" pitchFamily="34" charset="0"/>
                        </a:rPr>
                        <a:t>Fecha culminación Obras </a:t>
                      </a:r>
                      <a:endParaRPr lang="es-ES" sz="1050" b="1" u="none" strike="noStrike" dirty="0" smtClean="0">
                        <a:solidFill>
                          <a:srgbClr val="094677"/>
                        </a:solidFill>
                        <a:effectLst/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marR="0" indent="0" algn="ctr" defTabSz="8440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1 de Dic</a:t>
                      </a:r>
                      <a:r>
                        <a:rPr lang="es-CO" sz="1050" b="1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e </a:t>
                      </a:r>
                      <a:r>
                        <a:rPr lang="es-CO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2015</a:t>
                      </a:r>
                      <a:endParaRPr lang="es-MX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3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334514"/>
              </p:ext>
            </p:extLst>
          </p:nvPr>
        </p:nvGraphicFramePr>
        <p:xfrm>
          <a:off x="5033461" y="4815426"/>
          <a:ext cx="3984448" cy="419686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984448"/>
              </a:tblGrid>
              <a:tr h="372997">
                <a:tc>
                  <a:txBody>
                    <a:bodyPr/>
                    <a:lstStyle/>
                    <a:p>
                      <a:r>
                        <a:rPr lang="es-CO" sz="1100" b="1" dirty="0" smtClean="0"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Se</a:t>
                      </a:r>
                      <a:r>
                        <a:rPr lang="es-CO" sz="1100" b="1" baseline="0" dirty="0" smtClean="0"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 continua con actividades de mantenimiento, control de tráfico, administración y vigilancia.</a:t>
                      </a:r>
                      <a:endParaRPr lang="es-CO" sz="1100" b="1" dirty="0"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1 Título"/>
          <p:cNvSpPr txBox="1">
            <a:spLocks/>
          </p:cNvSpPr>
          <p:nvPr/>
        </p:nvSpPr>
        <p:spPr bwMode="auto">
          <a:xfrm>
            <a:off x="1920880" y="5477138"/>
            <a:ext cx="2976349" cy="885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5pPr>
            <a:lvl6pPr marL="422041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6pPr>
            <a:lvl7pPr marL="844083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7pPr>
            <a:lvl8pPr marL="1266124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8pPr>
            <a:lvl9pPr marL="1688165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MX" altLang="es-MX" sz="18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Área Influencia del Proyecto</a:t>
            </a:r>
            <a:r>
              <a:rPr lang="es-ES_tradnl" altLang="es-MX" sz="18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/>
            </a:r>
            <a:br>
              <a:rPr lang="es-ES_tradnl" altLang="es-MX" sz="18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</a:br>
            <a:r>
              <a:rPr lang="es-ES_tradnl" altLang="es-MX" sz="1200" b="0" dirty="0" smtClean="0">
                <a:solidFill>
                  <a:srgbClr val="7030A0"/>
                </a:solidFill>
                <a:latin typeface="Candara" panose="020E0502030303020204" pitchFamily="34" charset="0"/>
              </a:rPr>
              <a:t>Cundinamarca- Boyacá</a:t>
            </a:r>
            <a:r>
              <a:rPr lang="es-ES_tradnl" altLang="es-MX" sz="1200" b="0" i="1" dirty="0" smtClean="0">
                <a:solidFill>
                  <a:schemeClr val="tx2"/>
                </a:solidFill>
                <a:latin typeface="Candara" panose="020E0502030303020204" pitchFamily="34" charset="0"/>
              </a:rPr>
              <a:t/>
            </a:r>
            <a:br>
              <a:rPr lang="es-ES_tradnl" altLang="es-MX" sz="1200" b="0" i="1" dirty="0" smtClean="0">
                <a:solidFill>
                  <a:schemeClr val="tx2"/>
                </a:solidFill>
                <a:latin typeface="Candara" panose="020E0502030303020204" pitchFamily="34" charset="0"/>
              </a:rPr>
            </a:br>
            <a:endParaRPr lang="es-CO" altLang="es-MX" sz="1200" b="0" i="1" dirty="0">
              <a:solidFill>
                <a:schemeClr val="tx2"/>
              </a:solidFill>
              <a:latin typeface="Candara" panose="020E0502030303020204" pitchFamily="34" charset="0"/>
            </a:endParaRPr>
          </a:p>
        </p:txBody>
      </p:sp>
      <p:pic>
        <p:nvPicPr>
          <p:cNvPr id="15" name="Picture 4" descr="http://www.phoboscenter.es/wp-content/uploads/2013/11/ok.jp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9054" y="5756168"/>
            <a:ext cx="1130684" cy="850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3427883"/>
              </p:ext>
            </p:extLst>
          </p:nvPr>
        </p:nvGraphicFramePr>
        <p:xfrm>
          <a:off x="5033461" y="5309621"/>
          <a:ext cx="3984448" cy="893095"/>
        </p:xfrm>
        <a:graphic>
          <a:graphicData uri="http://schemas.openxmlformats.org/drawingml/2006/table">
            <a:tbl>
              <a:tblPr firstRow="1" firstCol="1" bandRow="1">
                <a:tableStyleId>{616DA210-FB5B-4158-B5E0-FEB733F419BA}</a:tableStyleId>
              </a:tblPr>
              <a:tblGrid>
                <a:gridCol w="2202608"/>
                <a:gridCol w="1781840"/>
              </a:tblGrid>
              <a:tr h="173886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financiero Contra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91.72 %         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19807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Obras culminadas a la Fech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 smtClean="0">
                          <a:effectLst/>
                        </a:rPr>
                        <a:t>72/72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28013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en Tiempo Contra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81.08 </a:t>
                      </a:r>
                      <a:r>
                        <a:rPr lang="es-CO" sz="1100" dirty="0" smtClean="0">
                          <a:effectLst/>
                        </a:rPr>
                        <a:t>%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71389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en Tiempo Obra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100 </a:t>
                      </a:r>
                      <a:r>
                        <a:rPr lang="es-CO" sz="1100" dirty="0" smtClean="0">
                          <a:effectLst/>
                        </a:rPr>
                        <a:t>%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pSp>
        <p:nvGrpSpPr>
          <p:cNvPr id="17" name="Grupo 16"/>
          <p:cNvGrpSpPr/>
          <p:nvPr/>
        </p:nvGrpSpPr>
        <p:grpSpPr>
          <a:xfrm>
            <a:off x="2533834" y="1054502"/>
            <a:ext cx="6827450" cy="604927"/>
            <a:chOff x="-53556" y="130555"/>
            <a:chExt cx="8980263" cy="829089"/>
          </a:xfrm>
        </p:grpSpPr>
        <p:sp>
          <p:nvSpPr>
            <p:cNvPr id="18" name="Rectángulo 17"/>
            <p:cNvSpPr>
              <a:spLocks noChangeArrowheads="1"/>
            </p:cNvSpPr>
            <p:nvPr/>
          </p:nvSpPr>
          <p:spPr bwMode="auto">
            <a:xfrm>
              <a:off x="-53556" y="130555"/>
              <a:ext cx="5904656" cy="566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s-ES" sz="2800" b="1" dirty="0" smtClean="0">
                  <a:solidFill>
                    <a:schemeClr val="accent5"/>
                  </a:solidFill>
                  <a:latin typeface="Candara" panose="020E0502030303020204" pitchFamily="34" charset="0"/>
                  <a:sym typeface="Helvetica Neue Bold Condensed" charset="0"/>
                </a:rPr>
                <a:t>CORREDOR</a:t>
              </a:r>
              <a:endParaRPr lang="es-ES" sz="28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chemeClr val="accent5"/>
                </a:solidFill>
                <a:latin typeface="Candara" panose="020E0502030303020204" pitchFamily="34" charset="0"/>
                <a:sym typeface="Helvetica Neue Bold Condensed" charset="0"/>
              </a:endParaRPr>
            </a:p>
          </p:txBody>
        </p:sp>
        <p:sp>
          <p:nvSpPr>
            <p:cNvPr id="19" name="Rectángulo 5"/>
            <p:cNvSpPr>
              <a:spLocks noChangeArrowheads="1"/>
            </p:cNvSpPr>
            <p:nvPr/>
          </p:nvSpPr>
          <p:spPr bwMode="auto">
            <a:xfrm>
              <a:off x="2477888" y="392821"/>
              <a:ext cx="6448819" cy="566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s-ES" sz="2800" b="1" dirty="0" smtClean="0">
                  <a:latin typeface="Candara" panose="020E0502030303020204" pitchFamily="34" charset="0"/>
                  <a:sym typeface="Helvetica Neue Bold Condensed"/>
                </a:rPr>
                <a:t>BOGOTÁ- BELENCITO</a:t>
              </a:r>
              <a:endParaRPr lang="es-ES" sz="2800" b="1" dirty="0">
                <a:latin typeface="Candara" panose="020E0502030303020204" pitchFamily="34" charset="0"/>
                <a:sym typeface="Helvetica Neue Bold Condense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417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8857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-27384"/>
            <a:ext cx="1800200" cy="6845889"/>
          </a:xfrm>
          <a:prstGeom prst="rect">
            <a:avLst/>
          </a:prstGeom>
          <a:noFill/>
        </p:spPr>
      </p:pic>
      <p:sp>
        <p:nvSpPr>
          <p:cNvPr id="34" name="Rectángulo 33"/>
          <p:cNvSpPr/>
          <p:nvPr/>
        </p:nvSpPr>
        <p:spPr>
          <a:xfrm>
            <a:off x="2457049" y="387146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9" name="30 CuadroTexto"/>
          <p:cNvSpPr txBox="1">
            <a:spLocks noChangeArrowheads="1"/>
          </p:cNvSpPr>
          <p:nvPr/>
        </p:nvSpPr>
        <p:spPr bwMode="auto">
          <a:xfrm flipH="1">
            <a:off x="5741377" y="1281758"/>
            <a:ext cx="3192016" cy="261610"/>
          </a:xfrm>
          <a:prstGeom prst="rect">
            <a:avLst/>
          </a:prstGeom>
          <a:solidFill>
            <a:srgbClr val="094677"/>
          </a:solidFill>
          <a:ln w="38100" cap="flat" cmpd="sng" algn="ctr">
            <a:solidFill>
              <a:srgbClr val="094677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s-CO"/>
            </a:defPPr>
            <a:lvl1pPr marL="457200" marR="0" lvl="0" indent="-457200" algn="ctr" defTabSz="914400" eaLnBrk="1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1050" dirty="0">
                <a:latin typeface="+mj-lt"/>
              </a:rPr>
              <a:t>DATOS TÉCNICOS</a:t>
            </a:r>
          </a:p>
        </p:txBody>
      </p:sp>
      <p:graphicFrame>
        <p:nvGraphicFramePr>
          <p:cNvPr id="21" name="Tab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8104436"/>
              </p:ext>
            </p:extLst>
          </p:nvPr>
        </p:nvGraphicFramePr>
        <p:xfrm>
          <a:off x="5741377" y="1612892"/>
          <a:ext cx="3192016" cy="1000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1554"/>
                <a:gridCol w="1310462"/>
              </a:tblGrid>
              <a:tr h="344441">
                <a:tc>
                  <a:txBody>
                    <a:bodyPr/>
                    <a:lstStyle/>
                    <a:p>
                      <a:pPr marL="0" marR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dirty="0" smtClean="0">
                          <a:solidFill>
                            <a:srgbClr val="094677"/>
                          </a:solidFill>
                        </a:rPr>
                        <a:t>Long. </a:t>
                      </a:r>
                      <a:r>
                        <a:rPr lang="es-ES" sz="1050" baseline="0" dirty="0" smtClean="0">
                          <a:solidFill>
                            <a:srgbClr val="094677"/>
                          </a:solidFill>
                        </a:rPr>
                        <a:t>Tramo Férreo Contractual</a:t>
                      </a:r>
                      <a:endParaRPr lang="es-CO" sz="1050" dirty="0" smtClean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dirty="0" smtClean="0">
                          <a:solidFill>
                            <a:srgbClr val="094677"/>
                          </a:solidFill>
                        </a:rPr>
                        <a:t>318,3 </a:t>
                      </a:r>
                      <a:r>
                        <a:rPr lang="es-ES" sz="1050" baseline="0" dirty="0" smtClean="0">
                          <a:solidFill>
                            <a:srgbClr val="094677"/>
                          </a:solidFill>
                        </a:rPr>
                        <a:t>Km</a:t>
                      </a:r>
                      <a:endParaRPr lang="es-CO" sz="1050" dirty="0" smtClean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0492">
                <a:tc>
                  <a:txBody>
                    <a:bodyPr/>
                    <a:lstStyle/>
                    <a:p>
                      <a:r>
                        <a:rPr lang="es-CO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acatativá – Bogotá– Belencito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dirty="0" smtClean="0">
                          <a:solidFill>
                            <a:srgbClr val="094677"/>
                          </a:solidFill>
                        </a:rPr>
                        <a:t>297,9 Km</a:t>
                      </a:r>
                      <a:endParaRPr lang="es-CO" sz="1050" b="0" dirty="0" smtClean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7982">
                <a:tc>
                  <a:txBody>
                    <a:bodyPr/>
                    <a:lstStyle/>
                    <a:p>
                      <a:r>
                        <a:rPr lang="es-CO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 Caro - Zipaquirá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dirty="0" smtClean="0">
                          <a:solidFill>
                            <a:srgbClr val="094677"/>
                          </a:solidFill>
                        </a:rPr>
                        <a:t>20,4 Km</a:t>
                      </a:r>
                      <a:endParaRPr lang="es-CO" sz="1050" dirty="0" smtClean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22" name="Imagen 21"/>
          <p:cNvPicPr>
            <a:picLocks noChangeAspect="1"/>
          </p:cNvPicPr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2235" y="1160586"/>
            <a:ext cx="2612255" cy="15123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23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8367"/>
              </p:ext>
            </p:extLst>
          </p:nvPr>
        </p:nvGraphicFramePr>
        <p:xfrm>
          <a:off x="1983898" y="2735267"/>
          <a:ext cx="3558229" cy="3878979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558229"/>
              </a:tblGrid>
              <a:tr h="2413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050" kern="1200" dirty="0" smtClean="0">
                          <a:effectLst/>
                        </a:rPr>
                        <a:t>GESTIÓN</a:t>
                      </a:r>
                      <a:endParaRPr lang="es-CO" sz="105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</a:tr>
              <a:tr h="1922120">
                <a:tc>
                  <a:txBody>
                    <a:bodyPr/>
                    <a:lstStyle/>
                    <a:p>
                      <a:pPr marL="228600" marR="0" lvl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MX" sz="1050" kern="1200" dirty="0" smtClean="0">
                          <a:effectLst/>
                        </a:rPr>
                        <a:t> DESCRIPCIÓN DEL ESTADO ACTUAL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s-MX" sz="1050" baseline="0" dirty="0" smtClean="0">
                        <a:effectLst/>
                      </a:endParaRPr>
                    </a:p>
                    <a:p>
                      <a:pPr marL="531813" lvl="1" indent="-265113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50" dirty="0" smtClean="0">
                          <a:effectLst/>
                        </a:rPr>
                        <a:t>Corredor</a:t>
                      </a:r>
                      <a:r>
                        <a:rPr lang="es-MX" sz="1050" baseline="0" dirty="0" smtClean="0">
                          <a:effectLst/>
                        </a:rPr>
                        <a:t> férreo con conectividad férrea desde Facatativá – Bogotá – Belencito 297,9 Km.</a:t>
                      </a:r>
                    </a:p>
                    <a:p>
                      <a:pPr marL="531813" lvl="1" indent="-265113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050" baseline="0" dirty="0" smtClean="0">
                          <a:effectLst/>
                        </a:rPr>
                        <a:t>Conectividad del corredor férreo La Caro - Zipaquirá 20,4 Km</a:t>
                      </a:r>
                    </a:p>
                    <a:p>
                      <a:pPr marL="531813" lvl="1" indent="-265113" algn="just">
                        <a:spcBef>
                          <a:spcPts val="4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50" baseline="0" dirty="0" smtClean="0">
                          <a:effectLst/>
                        </a:rPr>
                        <a:t>Terminación de las obras contractuales sobre la línea principal (72/72)</a:t>
                      </a:r>
                    </a:p>
                    <a:p>
                      <a:pPr marL="531813" lvl="1" indent="-265113" algn="just">
                        <a:spcBef>
                          <a:spcPts val="4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50" baseline="0" dirty="0" smtClean="0">
                          <a:effectLst/>
                        </a:rPr>
                        <a:t>Cumplimiento general de los ítems del contrato referidos a mantenimiento, mejoramiento, operación y control de trafico férreo </a:t>
                      </a:r>
                      <a:endParaRPr lang="es-MX" sz="1050" baseline="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/>
                </a:tc>
              </a:tr>
              <a:tr h="1688327">
                <a:tc>
                  <a:txBody>
                    <a:bodyPr/>
                    <a:lstStyle/>
                    <a:p>
                      <a:pPr marL="0" lvl="0" indent="0" algn="just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s-MX" sz="1050" kern="1200" dirty="0" smtClean="0">
                          <a:effectLst/>
                        </a:rPr>
                        <a:t>2. ACTIVIDADES DESTACADAS : 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050" kern="1200" baseline="0" dirty="0" smtClean="0">
                          <a:effectLst/>
                        </a:rPr>
                        <a:t>Gestiones para dar inicio a movilización de carga tramo Bogotá – Tocancipá con la empresa MOLSABANA (se firmó contrato de operación y se tiene proyectado iniciar la operación en mayo de 2016)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050" kern="1200" baseline="0" dirty="0" smtClean="0">
                          <a:effectLst/>
                        </a:rPr>
                        <a:t>Movilización de aproximadamente </a:t>
                      </a:r>
                      <a:r>
                        <a:rPr lang="es-MX" sz="1050" b="1" kern="1200" baseline="0" dirty="0" smtClean="0">
                          <a:effectLst/>
                        </a:rPr>
                        <a:t>39,378</a:t>
                      </a:r>
                      <a:r>
                        <a:rPr lang="es-MX" sz="1050" kern="1200" baseline="0" dirty="0" smtClean="0">
                          <a:effectLst/>
                        </a:rPr>
                        <a:t> pasajeros en el tramo Bogotá Km 5 – Zipaquirá durante marzo de 2016</a:t>
                      </a:r>
                      <a:endParaRPr lang="es-MX" sz="1050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/>
                </a:tc>
              </a:tr>
            </a:tbl>
          </a:graphicData>
        </a:graphic>
      </p:graphicFrame>
      <p:graphicFrame>
        <p:nvGraphicFramePr>
          <p:cNvPr id="24" name="Gráfico 23"/>
          <p:cNvGraphicFramePr/>
          <p:nvPr>
            <p:extLst>
              <p:ext uri="{D42A27DB-BD31-4B8C-83A1-F6EECF244321}">
                <p14:modId xmlns:p14="http://schemas.microsoft.com/office/powerpoint/2010/main" val="2181906250"/>
              </p:ext>
            </p:extLst>
          </p:nvPr>
        </p:nvGraphicFramePr>
        <p:xfrm>
          <a:off x="5741378" y="2735267"/>
          <a:ext cx="3192016" cy="2053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25" name="Picture 23" descr="Turistren, Cajicá, Colombia.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5485" y="4853701"/>
            <a:ext cx="2435877" cy="15068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" name="Rectángulo 5"/>
          <p:cNvSpPr>
            <a:spLocks noChangeArrowheads="1"/>
          </p:cNvSpPr>
          <p:nvPr/>
        </p:nvSpPr>
        <p:spPr bwMode="auto">
          <a:xfrm>
            <a:off x="2251553" y="89912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 smtClean="0">
                <a:latin typeface="Candara" panose="020E0502030303020204" pitchFamily="34" charset="0"/>
                <a:sym typeface="Helvetica Neue Bold Condensed"/>
              </a:rPr>
              <a:t>BOGOTÁ- BELENCITO</a:t>
            </a:r>
            <a:endParaRPr lang="es-ES" b="1" dirty="0">
              <a:latin typeface="Candara" panose="020E0502030303020204" pitchFamily="34" charset="0"/>
              <a:sym typeface="Helvetica Neue Bold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568863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6773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40" name="Rectángulo 39"/>
          <p:cNvSpPr/>
          <p:nvPr/>
        </p:nvSpPr>
        <p:spPr>
          <a:xfrm>
            <a:off x="2457049" y="35971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aphicFrame>
        <p:nvGraphicFramePr>
          <p:cNvPr id="10" name="Tab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9181749"/>
              </p:ext>
            </p:extLst>
          </p:nvPr>
        </p:nvGraphicFramePr>
        <p:xfrm>
          <a:off x="6950203" y="2541314"/>
          <a:ext cx="1922193" cy="1136994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922193"/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Reconformación</a:t>
                      </a:r>
                      <a:r>
                        <a:rPr lang="es-MX" sz="1200" b="1" kern="1200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de banca</a:t>
                      </a:r>
                      <a:endParaRPr lang="es-MX" sz="1200" b="1" kern="120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41078">
                <a:tc>
                  <a:txBody>
                    <a:bodyPr/>
                    <a:lstStyle/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79+800</a:t>
                      </a:r>
                    </a:p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artamento: Cundinamarc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9782904"/>
              </p:ext>
            </p:extLst>
          </p:nvPr>
        </p:nvGraphicFramePr>
        <p:xfrm>
          <a:off x="7034287" y="4581069"/>
          <a:ext cx="1953140" cy="1289512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953140"/>
              </a:tblGrid>
              <a:tr h="297360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Reconformación</a:t>
                      </a:r>
                      <a:r>
                        <a:rPr lang="es-MX" sz="1200" b="1" kern="1200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de banca</a:t>
                      </a:r>
                      <a:endParaRPr lang="es-MX" sz="1200" b="1" kern="120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92152">
                <a:tc>
                  <a:txBody>
                    <a:bodyPr/>
                    <a:lstStyle/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– PK</a:t>
                      </a:r>
                      <a:r>
                        <a:rPr lang="es-MX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17+150</a:t>
                      </a:r>
                    </a:p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artamento: Boyacá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Rectángulo 11"/>
          <p:cNvSpPr/>
          <p:nvPr/>
        </p:nvSpPr>
        <p:spPr>
          <a:xfrm>
            <a:off x="2457049" y="1485825"/>
            <a:ext cx="103618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 smtClean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ntes</a:t>
            </a:r>
            <a:endParaRPr lang="es-MX" sz="2800" b="1" dirty="0">
              <a:solidFill>
                <a:srgbClr val="A5002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4723093" y="1485825"/>
            <a:ext cx="144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 smtClean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espués</a:t>
            </a:r>
            <a:endParaRPr lang="es-MX" sz="2800" b="1" dirty="0">
              <a:solidFill>
                <a:srgbClr val="A5002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14" name="Imagen 13" descr="C:\Users\jrincon\AppData\Local\Microsoft\Windows\Temporary Internet Files\Content.Outlook\5XW34OU5\IMG-20160122-WA0003.jpg"/>
          <p:cNvPicPr/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7984" y="2208179"/>
            <a:ext cx="2428097" cy="1662208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Imagen 3" descr="image009"/>
          <p:cNvPicPr>
            <a:picLocks noChangeAspect="1" noChangeArrowheads="1"/>
          </p:cNvPicPr>
          <p:nvPr/>
        </p:nvPicPr>
        <p:blipFill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6971" y="2208179"/>
            <a:ext cx="2367997" cy="1686686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agen 5" descr="image014"/>
          <p:cNvPicPr>
            <a:picLocks noChangeAspect="1" noChangeArrowheads="1"/>
          </p:cNvPicPr>
          <p:nvPr/>
        </p:nvPicPr>
        <p:blipFill>
          <a:blip r:embed="rId12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6971" y="4294210"/>
            <a:ext cx="2352491" cy="1702663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n 16"/>
          <p:cNvPicPr>
            <a:picLocks noChangeAspect="1"/>
          </p:cNvPicPr>
          <p:nvPr/>
        </p:nvPicPr>
        <p:blipFill rotWithShape="1">
          <a:blip r:embed="rId13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7668" y="4294210"/>
            <a:ext cx="2428413" cy="1702663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8348595"/>
              </p:ext>
            </p:extLst>
          </p:nvPr>
        </p:nvGraphicFramePr>
        <p:xfrm>
          <a:off x="1751654" y="1152690"/>
          <a:ext cx="5826872" cy="24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6872"/>
              </a:tblGrid>
              <a:tr h="248045">
                <a:tc>
                  <a:txBody>
                    <a:bodyPr/>
                    <a:lstStyle/>
                    <a:p>
                      <a:pPr algn="just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CO" sz="1600" b="1" i="0" spc="-10" dirty="0">
                          <a:effectLst/>
                          <a:latin typeface="Candara" panose="020E0502030303020204" pitchFamily="34" charset="0"/>
                        </a:rPr>
                        <a:t>Registro </a:t>
                      </a:r>
                      <a:r>
                        <a:rPr lang="es-CO" sz="1600" b="1" i="0" spc="-10" dirty="0" smtClean="0">
                          <a:effectLst/>
                          <a:latin typeface="Candara" panose="020E0502030303020204" pitchFamily="34" charset="0"/>
                        </a:rPr>
                        <a:t>Fotográfico</a:t>
                      </a:r>
                      <a:r>
                        <a:rPr lang="es-CO" sz="1600" b="1" i="0" spc="-10" baseline="0" dirty="0" smtClean="0">
                          <a:effectLst/>
                          <a:latin typeface="Candara" panose="020E0502030303020204" pitchFamily="34" charset="0"/>
                        </a:rPr>
                        <a:t>- Obras Terminadas</a:t>
                      </a:r>
                      <a:endParaRPr lang="es-MX" sz="1600" b="1" i="0" dirty="0">
                        <a:effectLst/>
                        <a:latin typeface="Candara" panose="020E0502030303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9535" marR="8953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Rectángulo 5"/>
          <p:cNvSpPr>
            <a:spLocks noChangeArrowheads="1"/>
          </p:cNvSpPr>
          <p:nvPr/>
        </p:nvSpPr>
        <p:spPr bwMode="auto">
          <a:xfrm>
            <a:off x="2251553" y="89912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 smtClean="0">
                <a:latin typeface="Candara" panose="020E0502030303020204" pitchFamily="34" charset="0"/>
                <a:sym typeface="Helvetica Neue Bold Condensed"/>
              </a:rPr>
              <a:t>BOGOTÁ- BELENCITO</a:t>
            </a:r>
            <a:endParaRPr lang="es-ES" b="1" dirty="0">
              <a:latin typeface="Candara" panose="020E0502030303020204" pitchFamily="34" charset="0"/>
              <a:sym typeface="Helvetica Neue Bold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3217612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6773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40" name="Rectángulo 39"/>
          <p:cNvSpPr/>
          <p:nvPr/>
        </p:nvSpPr>
        <p:spPr>
          <a:xfrm>
            <a:off x="2457049" y="35971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2457049" y="1485825"/>
            <a:ext cx="103618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 smtClean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ntes</a:t>
            </a:r>
            <a:endParaRPr lang="es-MX" sz="2800" b="1" dirty="0">
              <a:solidFill>
                <a:srgbClr val="A5002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4723093" y="1485825"/>
            <a:ext cx="144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 smtClean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espués</a:t>
            </a:r>
            <a:endParaRPr lang="es-MX" sz="2800" b="1" dirty="0">
              <a:solidFill>
                <a:srgbClr val="A5002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8348595"/>
              </p:ext>
            </p:extLst>
          </p:nvPr>
        </p:nvGraphicFramePr>
        <p:xfrm>
          <a:off x="1751654" y="1152690"/>
          <a:ext cx="5826872" cy="24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6872"/>
              </a:tblGrid>
              <a:tr h="248045">
                <a:tc>
                  <a:txBody>
                    <a:bodyPr/>
                    <a:lstStyle/>
                    <a:p>
                      <a:pPr algn="just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CO" sz="1600" b="1" i="0" spc="-10" dirty="0">
                          <a:effectLst/>
                          <a:latin typeface="Candara" panose="020E0502030303020204" pitchFamily="34" charset="0"/>
                        </a:rPr>
                        <a:t>Registro </a:t>
                      </a:r>
                      <a:r>
                        <a:rPr lang="es-CO" sz="1600" b="1" i="0" spc="-10" dirty="0" smtClean="0">
                          <a:effectLst/>
                          <a:latin typeface="Candara" panose="020E0502030303020204" pitchFamily="34" charset="0"/>
                        </a:rPr>
                        <a:t>Fotográfico</a:t>
                      </a:r>
                      <a:r>
                        <a:rPr lang="es-CO" sz="1600" b="1" i="0" spc="-10" baseline="0" dirty="0" smtClean="0">
                          <a:effectLst/>
                          <a:latin typeface="Candara" panose="020E0502030303020204" pitchFamily="34" charset="0"/>
                        </a:rPr>
                        <a:t>- Obras Terminadas</a:t>
                      </a:r>
                      <a:endParaRPr lang="es-MX" sz="1600" b="1" i="0" dirty="0">
                        <a:effectLst/>
                        <a:latin typeface="Candara" panose="020E0502030303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9535" marR="8953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Tab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1314785"/>
              </p:ext>
            </p:extLst>
          </p:nvPr>
        </p:nvGraphicFramePr>
        <p:xfrm>
          <a:off x="6973183" y="2552047"/>
          <a:ext cx="1853945" cy="141458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853945"/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Reconstrucción</a:t>
                      </a:r>
                      <a:r>
                        <a:rPr lang="es-MX" sz="1200" b="1" kern="1200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de Vía</a:t>
                      </a:r>
                      <a:endParaRPr lang="es-MX" sz="1200" b="1" kern="120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117+900</a:t>
                      </a:r>
                    </a:p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:</a:t>
                      </a:r>
                      <a:r>
                        <a:rPr lang="es-MX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oyacá</a:t>
                      </a:r>
                    </a:p>
                    <a:p>
                      <a:endParaRPr lang="es-MX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9754440"/>
              </p:ext>
            </p:extLst>
          </p:nvPr>
        </p:nvGraphicFramePr>
        <p:xfrm>
          <a:off x="7055562" y="4409270"/>
          <a:ext cx="1871155" cy="1498236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871155"/>
              </a:tblGrid>
              <a:tr h="379563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1" kern="1200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Reconstrucción</a:t>
                      </a:r>
                      <a:r>
                        <a:rPr lang="es-MX" sz="1200" b="1" kern="1200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de Vía</a:t>
                      </a:r>
                      <a:endParaRPr lang="es-MX" sz="1200" b="1" kern="120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188+600</a:t>
                      </a:r>
                    </a:p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artamento: Boyacá</a:t>
                      </a:r>
                    </a:p>
                    <a:p>
                      <a:endParaRPr lang="es-MX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1" name="Imagen 7" descr="image018"/>
          <p:cNvPicPr>
            <a:picLocks noChangeAspect="1" noChangeArrowheads="1"/>
          </p:cNvPicPr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7713" y="2313625"/>
            <a:ext cx="2367997" cy="1690984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0034" y="2313625"/>
            <a:ext cx="2428414" cy="1653011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Imagen 11" descr="image027"/>
          <p:cNvPicPr>
            <a:picLocks noChangeAspect="1" noChangeArrowheads="1"/>
          </p:cNvPicPr>
          <p:nvPr/>
        </p:nvPicPr>
        <p:blipFill>
          <a:blip r:embed="rId12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7851" y="4309189"/>
            <a:ext cx="2389925" cy="1698399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Imagen 23"/>
          <p:cNvPicPr>
            <a:picLocks noChangeAspect="1"/>
          </p:cNvPicPr>
          <p:nvPr/>
        </p:nvPicPr>
        <p:blipFill rotWithShape="1">
          <a:blip r:embed="rId13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0034" y="4271216"/>
            <a:ext cx="2428414" cy="1698399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tángulo 5"/>
          <p:cNvSpPr>
            <a:spLocks noChangeArrowheads="1"/>
          </p:cNvSpPr>
          <p:nvPr/>
        </p:nvSpPr>
        <p:spPr bwMode="auto">
          <a:xfrm>
            <a:off x="2251553" y="89912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 smtClean="0">
                <a:latin typeface="Candara" panose="020E0502030303020204" pitchFamily="34" charset="0"/>
                <a:sym typeface="Helvetica Neue Bold Condensed"/>
              </a:rPr>
              <a:t>BOGOTÁ- BELENCITO</a:t>
            </a:r>
            <a:endParaRPr lang="es-ES" b="1" dirty="0">
              <a:latin typeface="Candara" panose="020E0502030303020204" pitchFamily="34" charset="0"/>
              <a:sym typeface="Helvetica Neue Bold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160892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Rectangle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186752"/>
              </p:ext>
            </p:ext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sym typeface="Candara"/>
            </a:endParaRPr>
          </a:p>
        </p:txBody>
      </p:sp>
      <p:pic>
        <p:nvPicPr>
          <p:cNvPr id="2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30" name="Rectángulo 29"/>
          <p:cNvSpPr/>
          <p:nvPr/>
        </p:nvSpPr>
        <p:spPr>
          <a:xfrm>
            <a:off x="2457049" y="35971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2533834" y="1054502"/>
            <a:ext cx="6827450" cy="714577"/>
            <a:chOff x="-53556" y="130555"/>
            <a:chExt cx="8980263" cy="979371"/>
          </a:xfrm>
        </p:grpSpPr>
        <p:sp>
          <p:nvSpPr>
            <p:cNvPr id="8" name="Rectángulo 7"/>
            <p:cNvSpPr>
              <a:spLocks noChangeArrowheads="1"/>
            </p:cNvSpPr>
            <p:nvPr/>
          </p:nvSpPr>
          <p:spPr bwMode="auto">
            <a:xfrm>
              <a:off x="-53556" y="130555"/>
              <a:ext cx="5904656" cy="566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s-ES" sz="2800" b="1" dirty="0" smtClean="0">
                  <a:solidFill>
                    <a:schemeClr val="accent5"/>
                  </a:solidFill>
                  <a:latin typeface="Candara" panose="020E0502030303020204" pitchFamily="34" charset="0"/>
                  <a:sym typeface="Helvetica Neue Bold Condensed" charset="0"/>
                </a:rPr>
                <a:t>CORREDOR</a:t>
              </a:r>
              <a:endParaRPr lang="es-ES" sz="28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chemeClr val="accent5"/>
                </a:solidFill>
                <a:latin typeface="Candara" panose="020E0502030303020204" pitchFamily="34" charset="0"/>
                <a:sym typeface="Helvetica Neue Bold Condensed" charset="0"/>
              </a:endParaRPr>
            </a:p>
          </p:txBody>
        </p:sp>
        <p:sp>
          <p:nvSpPr>
            <p:cNvPr id="9" name="Rectángulo 5"/>
            <p:cNvSpPr>
              <a:spLocks noChangeArrowheads="1"/>
            </p:cNvSpPr>
            <p:nvPr/>
          </p:nvSpPr>
          <p:spPr bwMode="auto">
            <a:xfrm>
              <a:off x="2477888" y="392821"/>
              <a:ext cx="6448819" cy="717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s-ES" sz="2800" b="1" dirty="0" smtClean="0">
                  <a:latin typeface="Candara" panose="020E0502030303020204" pitchFamily="34" charset="0"/>
                  <a:sym typeface="Helvetica Neue Bold Condensed"/>
                </a:rPr>
                <a:t>LA DORADA- CHIRIGUANÁ</a:t>
              </a:r>
              <a:endParaRPr lang="es-ES" sz="2800" b="1" dirty="0">
                <a:latin typeface="Candara" panose="020E0502030303020204" pitchFamily="34" charset="0"/>
                <a:sym typeface="Helvetica Neue Bold Condensed"/>
              </a:endParaRPr>
            </a:p>
          </p:txBody>
        </p:sp>
      </p:grp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84648" y="1787519"/>
            <a:ext cx="3330560" cy="386204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Picture 4" descr="http://www.phoboscenter.es/wp-content/uploads/2013/11/ok.jp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3795" y="5816036"/>
            <a:ext cx="1244683" cy="856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1 Título"/>
          <p:cNvSpPr txBox="1">
            <a:spLocks/>
          </p:cNvSpPr>
          <p:nvPr/>
        </p:nvSpPr>
        <p:spPr bwMode="auto">
          <a:xfrm>
            <a:off x="1854506" y="5816036"/>
            <a:ext cx="2482104" cy="839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5pPr>
            <a:lvl6pPr marL="422041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6pPr>
            <a:lvl7pPr marL="844083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7pPr>
            <a:lvl8pPr marL="1266124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8pPr>
            <a:lvl9pPr marL="1688165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MX" altLang="es-MX" sz="1600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partamentos influencia:</a:t>
            </a:r>
            <a:r>
              <a:rPr lang="es-ES_tradnl" altLang="es-MX" sz="1600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ES_tradnl" altLang="es-MX" sz="1600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ES_tradnl" altLang="es-MX" sz="1400" i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ldas, Antioquia, Santander, </a:t>
            </a:r>
          </a:p>
          <a:p>
            <a:pPr algn="l"/>
            <a:r>
              <a:rPr lang="es-ES_tradnl" altLang="es-MX" sz="1400" i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rte de Santander y Cesar</a:t>
            </a:r>
            <a:r>
              <a:rPr lang="es-ES_tradnl" altLang="es-MX" sz="1100" b="0" i="1" dirty="0" smtClean="0">
                <a:solidFill>
                  <a:schemeClr val="tx2"/>
                </a:solidFill>
              </a:rPr>
              <a:t/>
            </a:r>
            <a:br>
              <a:rPr lang="es-ES_tradnl" altLang="es-MX" sz="1100" b="0" i="1" dirty="0" smtClean="0">
                <a:solidFill>
                  <a:schemeClr val="tx2"/>
                </a:solidFill>
              </a:rPr>
            </a:br>
            <a:endParaRPr lang="es-CO" altLang="es-MX" sz="1100" b="0" i="1" dirty="0">
              <a:solidFill>
                <a:schemeClr val="tx2"/>
              </a:solidFill>
            </a:endParaRPr>
          </a:p>
        </p:txBody>
      </p:sp>
      <p:sp>
        <p:nvSpPr>
          <p:cNvPr id="14" name="30 CuadroTexto"/>
          <p:cNvSpPr txBox="1">
            <a:spLocks noChangeArrowheads="1"/>
          </p:cNvSpPr>
          <p:nvPr/>
        </p:nvSpPr>
        <p:spPr bwMode="auto">
          <a:xfrm flipH="1">
            <a:off x="5218478" y="1787518"/>
            <a:ext cx="3802455" cy="319639"/>
          </a:xfrm>
          <a:prstGeom prst="rect">
            <a:avLst/>
          </a:prstGeom>
          <a:solidFill>
            <a:srgbClr val="094677"/>
          </a:solidFill>
          <a:ln w="38100" cap="flat" cmpd="sng" algn="ctr">
            <a:solidFill>
              <a:srgbClr val="094677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22041" indent="-422041" defTabSz="844083">
              <a:spcBef>
                <a:spcPts val="554"/>
              </a:spcBef>
              <a:defRPr/>
            </a:pPr>
            <a:r>
              <a:rPr lang="es-CO" sz="1400" kern="0" dirty="0">
                <a:solidFill>
                  <a:prstClr val="white"/>
                </a:solidFill>
                <a:latin typeface="Candara" panose="020E0502030303020204" pitchFamily="34" charset="0"/>
                <a:cs typeface="Arial" pitchFamily="34" charset="0"/>
              </a:rPr>
              <a:t>INFORMACIÓN GENERAL</a:t>
            </a:r>
          </a:p>
        </p:txBody>
      </p:sp>
      <p:graphicFrame>
        <p:nvGraphicFramePr>
          <p:cNvPr id="16" name="Tab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3345539"/>
              </p:ext>
            </p:extLst>
          </p:nvPr>
        </p:nvGraphicFramePr>
        <p:xfrm>
          <a:off x="5218478" y="2178262"/>
          <a:ext cx="3802455" cy="1473581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667090"/>
                <a:gridCol w="1135365"/>
              </a:tblGrid>
              <a:tr h="2359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s-E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lor del proyecto (ACTUAL)</a:t>
                      </a:r>
                      <a:endParaRPr lang="es-CO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u="none" strike="noStrike" kern="1200" dirty="0" smtClean="0">
                          <a:effectLst/>
                        </a:rPr>
                        <a:t> $ </a:t>
                      </a:r>
                      <a:r>
                        <a:rPr lang="es-CO" sz="1000" kern="1200" dirty="0" smtClean="0">
                          <a:effectLst/>
                        </a:rPr>
                        <a:t>114.155,581</a:t>
                      </a:r>
                      <a:endParaRPr lang="es-CO" sz="1000" b="1" kern="1200" dirty="0" smtClean="0">
                        <a:solidFill>
                          <a:schemeClr val="accent1">
                            <a:lumMod val="2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792" marR="8792" marT="8792" marB="0" anchor="ctr"/>
                </a:tc>
              </a:tr>
              <a:tr h="2359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Caldas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4.950,31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2359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Antioquia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35.789,34 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2359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Santander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33.472,99 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2483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Norte de Santander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519,56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2780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Cesar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39.423,38 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8806684"/>
              </p:ext>
            </p:extLst>
          </p:nvPr>
        </p:nvGraphicFramePr>
        <p:xfrm>
          <a:off x="5214796" y="3641317"/>
          <a:ext cx="3806138" cy="962760"/>
        </p:xfrm>
        <a:graphic>
          <a:graphicData uri="http://schemas.openxmlformats.org/drawingml/2006/table">
            <a:tbl>
              <a:tblPr firstRow="1" firstCol="1" bandRow="1">
                <a:tableStyleId>{616DA210-FB5B-4158-B5E0-FEB733F419BA}</a:tableStyleId>
              </a:tblPr>
              <a:tblGrid>
                <a:gridCol w="840615"/>
                <a:gridCol w="1836526"/>
                <a:gridCol w="1128997"/>
              </a:tblGrid>
              <a:tr h="275202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cha Inicio del Contrato</a:t>
                      </a:r>
                      <a:endParaRPr lang="es-MX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/>
                        <a:t>01 de nov. de 2013</a:t>
                      </a:r>
                      <a:endParaRPr lang="es-MX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21600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cha Finalización del Contrato</a:t>
                      </a:r>
                      <a:endParaRPr lang="es-MX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/>
                        <a:t>30 de nov. de 2016</a:t>
                      </a:r>
                      <a:endParaRPr lang="es-MX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21600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cha inicio de obras priorizadas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endParaRPr lang="es-MX" dirty="0"/>
                    </a:p>
                  </a:txBody>
                  <a:tcPr marL="7144" marR="7144" marT="7144" marB="0" anchor="ctr">
                    <a:lnR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1000" kern="1200" dirty="0" smtClean="0"/>
                        <a:t>30 de mar. de 2014</a:t>
                      </a:r>
                      <a:endParaRPr lang="es-CO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</a:tr>
              <a:tr h="10800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cha culminación Obras 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 smtClean="0"/>
                        <a:t>30 de marzo 2015</a:t>
                      </a:r>
                      <a:endParaRPr lang="es-MX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</a:tr>
            </a:tbl>
          </a:graphicData>
        </a:graphic>
      </p:graphicFrame>
      <p:sp>
        <p:nvSpPr>
          <p:cNvPr id="17" name="30 CuadroTexto"/>
          <p:cNvSpPr txBox="1">
            <a:spLocks noChangeArrowheads="1"/>
          </p:cNvSpPr>
          <p:nvPr/>
        </p:nvSpPr>
        <p:spPr bwMode="auto">
          <a:xfrm flipH="1">
            <a:off x="5214796" y="4709913"/>
            <a:ext cx="3806137" cy="307777"/>
          </a:xfrm>
          <a:prstGeom prst="rect">
            <a:avLst/>
          </a:prstGeom>
          <a:solidFill>
            <a:srgbClr val="E36B1A"/>
          </a:solidFill>
          <a:ln w="38100" cap="flat" cmpd="sng" algn="ctr">
            <a:solidFill>
              <a:srgbClr val="E36B1A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22041" indent="-422041" defTabSz="844083">
              <a:spcBef>
                <a:spcPts val="554"/>
              </a:spcBef>
              <a:defRPr/>
            </a:pPr>
            <a:r>
              <a:rPr lang="es-CO" sz="1400" kern="0" dirty="0">
                <a:solidFill>
                  <a:prstClr val="white"/>
                </a:solidFill>
                <a:latin typeface="Candara" panose="020E0502030303020204" pitchFamily="34" charset="0"/>
                <a:cs typeface="Arial" pitchFamily="34" charset="0"/>
              </a:rPr>
              <a:t>ESTADO ACTUAL</a:t>
            </a: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5789073"/>
              </p:ext>
            </p:extLst>
          </p:nvPr>
        </p:nvGraphicFramePr>
        <p:xfrm>
          <a:off x="5198748" y="5130291"/>
          <a:ext cx="3822185" cy="787580"/>
        </p:xfrm>
        <a:graphic>
          <a:graphicData uri="http://schemas.openxmlformats.org/drawingml/2006/table">
            <a:tbl>
              <a:tblPr firstRow="1" firstCol="1" bandRow="1">
                <a:tableStyleId>{616DA210-FB5B-4158-B5E0-FEB733F419BA}</a:tableStyleId>
              </a:tblPr>
              <a:tblGrid>
                <a:gridCol w="2112909"/>
                <a:gridCol w="1709276"/>
              </a:tblGrid>
              <a:tr h="159179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financiero Contra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MX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5,63%</a:t>
                      </a: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</a:t>
                      </a:r>
                      <a:endParaRPr lang="es-CO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201216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Obras culminadas a la Fech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 smtClean="0">
                          <a:effectLst/>
                        </a:rPr>
                        <a:t>48/48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70288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en Tiempo Contra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81.08 </a:t>
                      </a:r>
                      <a:r>
                        <a:rPr lang="es-CO" sz="1100" dirty="0" smtClean="0">
                          <a:effectLst/>
                        </a:rPr>
                        <a:t>%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48436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en Tiempo Obra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100 </a:t>
                      </a:r>
                      <a:r>
                        <a:rPr lang="es-CO" sz="1100" dirty="0" smtClean="0">
                          <a:effectLst/>
                        </a:rPr>
                        <a:t>%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aphicFrame>
        <p:nvGraphicFramePr>
          <p:cNvPr id="19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0054107"/>
              </p:ext>
            </p:extLst>
          </p:nvPr>
        </p:nvGraphicFramePr>
        <p:xfrm>
          <a:off x="5198748" y="5926924"/>
          <a:ext cx="3822185" cy="419686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822185"/>
              </a:tblGrid>
              <a:tr h="372997">
                <a:tc>
                  <a:txBody>
                    <a:bodyPr/>
                    <a:lstStyle/>
                    <a:p>
                      <a:r>
                        <a:rPr lang="es-CO" sz="1100" b="1" dirty="0" smtClean="0"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Se</a:t>
                      </a:r>
                      <a:r>
                        <a:rPr lang="es-CO" sz="1100" b="1" baseline="0" dirty="0" smtClean="0"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 continua con actividades de mantenimiento, control de tráfico, administración y vigilancia.</a:t>
                      </a:r>
                      <a:endParaRPr lang="es-CO" sz="1100" b="1" dirty="0"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1" name="Rectángulo 5"/>
          <p:cNvSpPr>
            <a:spLocks noChangeArrowheads="1"/>
          </p:cNvSpPr>
          <p:nvPr/>
        </p:nvSpPr>
        <p:spPr bwMode="auto">
          <a:xfrm>
            <a:off x="1885179" y="70277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 smtClean="0">
                <a:latin typeface="Candara" panose="020E0502030303020204" pitchFamily="34" charset="0"/>
                <a:sym typeface="Helvetica Neue Bold Condensed"/>
              </a:rPr>
              <a:t>LA DORADA- CHIRIGUANÁ</a:t>
            </a:r>
            <a:endParaRPr lang="es-ES" b="1" dirty="0">
              <a:latin typeface="Candara" panose="020E0502030303020204" pitchFamily="34" charset="0"/>
              <a:sym typeface="Helvetica Neue Bold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944780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-27384"/>
            <a:ext cx="1800200" cy="6845889"/>
          </a:xfrm>
          <a:prstGeom prst="rect">
            <a:avLst/>
          </a:prstGeom>
          <a:noFill/>
        </p:spPr>
      </p:pic>
      <p:sp>
        <p:nvSpPr>
          <p:cNvPr id="34" name="Rectángulo 33"/>
          <p:cNvSpPr/>
          <p:nvPr/>
        </p:nvSpPr>
        <p:spPr>
          <a:xfrm>
            <a:off x="2457049" y="387146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9" name="30 CuadroTexto"/>
          <p:cNvSpPr txBox="1">
            <a:spLocks noChangeArrowheads="1"/>
          </p:cNvSpPr>
          <p:nvPr/>
        </p:nvSpPr>
        <p:spPr bwMode="auto">
          <a:xfrm flipH="1">
            <a:off x="5741377" y="1281758"/>
            <a:ext cx="3192016" cy="261610"/>
          </a:xfrm>
          <a:prstGeom prst="rect">
            <a:avLst/>
          </a:prstGeom>
          <a:solidFill>
            <a:srgbClr val="094677"/>
          </a:solidFill>
          <a:ln w="38100" cap="flat" cmpd="sng" algn="ctr">
            <a:solidFill>
              <a:srgbClr val="094677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s-CO"/>
            </a:defPPr>
            <a:lvl1pPr marL="457200" marR="0" lvl="0" indent="-457200" algn="ctr" defTabSz="914400" eaLnBrk="1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1050" dirty="0">
                <a:latin typeface="+mj-lt"/>
              </a:rPr>
              <a:t>DATOS TÉCNICOS</a:t>
            </a:r>
          </a:p>
        </p:txBody>
      </p:sp>
      <p:graphicFrame>
        <p:nvGraphicFramePr>
          <p:cNvPr id="21" name="Tab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167402"/>
              </p:ext>
            </p:extLst>
          </p:nvPr>
        </p:nvGraphicFramePr>
        <p:xfrm>
          <a:off x="5741377" y="1612892"/>
          <a:ext cx="3192016" cy="9338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1554"/>
                <a:gridCol w="1310462"/>
              </a:tblGrid>
              <a:tr h="344441">
                <a:tc>
                  <a:txBody>
                    <a:bodyPr/>
                    <a:lstStyle/>
                    <a:p>
                      <a:pPr marL="0" marR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riguaná - La Dorada</a:t>
                      </a:r>
                      <a:endParaRPr lang="es-CO" sz="1050" dirty="0" smtClean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1,2 Km</a:t>
                      </a:r>
                      <a:endParaRPr lang="es-CO" sz="1050" dirty="0" smtClean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0492">
                <a:tc>
                  <a:txBody>
                    <a:bodyPr/>
                    <a:lstStyle/>
                    <a:p>
                      <a:r>
                        <a:rPr lang="es-C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erto </a:t>
                      </a:r>
                      <a:r>
                        <a:rPr lang="es-CO" sz="105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rrío</a:t>
                      </a:r>
                      <a:r>
                        <a:rPr lang="es-C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Cabañas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,1 Km</a:t>
                      </a:r>
                      <a:endParaRPr lang="es-CO" sz="1050" b="0" dirty="0" smtClean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7982">
                <a:tc>
                  <a:txBody>
                    <a:bodyPr/>
                    <a:lstStyle/>
                    <a:p>
                      <a:r>
                        <a:rPr lang="es-C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mal Capulco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Km </a:t>
                      </a:r>
                      <a:endParaRPr lang="es-CO" sz="1050" dirty="0" smtClean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5091747"/>
              </p:ext>
            </p:extLst>
          </p:nvPr>
        </p:nvGraphicFramePr>
        <p:xfrm>
          <a:off x="1965085" y="2658149"/>
          <a:ext cx="3705803" cy="404927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705803"/>
              </a:tblGrid>
              <a:tr h="2413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050" kern="1200" dirty="0" smtClean="0">
                          <a:effectLst/>
                        </a:rPr>
                        <a:t>GESTIÓN</a:t>
                      </a:r>
                      <a:endParaRPr lang="es-CO" sz="105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</a:tr>
              <a:tr h="1922120">
                <a:tc>
                  <a:txBody>
                    <a:bodyPr/>
                    <a:lstStyle/>
                    <a:p>
                      <a:pPr marL="228600" marR="0" lvl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MX" sz="1050" kern="1200" dirty="0" smtClean="0">
                          <a:effectLst/>
                        </a:rPr>
                        <a:t> DESCRIPCIÓN DEL ESTADO ACTUAL </a:t>
                      </a:r>
                    </a:p>
                    <a:p>
                      <a:pPr marL="171450" lvl="1" indent="-171450" algn="just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redor férreo con conectividad La Dorada - hasta Chiriguaná - Cesar 521,2 Km.</a:t>
                      </a:r>
                    </a:p>
                    <a:p>
                      <a:pPr marL="171450" lvl="1" indent="-171450" algn="just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plimiento general de los ítems del contrato referidos a mantenimiento, mejoramiento, operación y control de trafico férreo.</a:t>
                      </a:r>
                    </a:p>
                    <a:p>
                      <a:pPr marL="171450" lvl="1" indent="-171450" algn="just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 ejecución obras Fase I – Capulco por 7.547.253.488 – Terminación estimada Mayo 2016.</a:t>
                      </a:r>
                    </a:p>
                    <a:p>
                      <a:pPr marL="171450" lvl="1" indent="-171450" algn="just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adelantan dentro del Cronograma las actividades de mejoramiento del tramo Chiriguaná – Gamarra.</a:t>
                      </a:r>
                      <a:endParaRPr lang="es-MX" sz="10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</a:tr>
              <a:tr h="1688327">
                <a:tc>
                  <a:txBody>
                    <a:bodyPr/>
                    <a:lstStyle/>
                    <a:p>
                      <a:pPr marL="0" lvl="0" indent="0" algn="just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s-MX" sz="1050" kern="1200" dirty="0" smtClean="0">
                          <a:effectLst/>
                        </a:rPr>
                        <a:t>2. ACTIVIDADES DESTACADAS : </a:t>
                      </a:r>
                    </a:p>
                    <a:p>
                      <a:pPr marL="171450" lvl="1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adelantan gestiones de revisión  del contrato de Comodato con el ministerio de Agricultura para lograr la entrega de las instalaciones del IDEMA en Gamarra - Cesar, como centro de transferencia para la movilización del carbón de Norte. </a:t>
                      </a:r>
                    </a:p>
                    <a:p>
                      <a:pPr marL="171450" lvl="1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adelanta las mesas de trabajo con </a:t>
                      </a:r>
                      <a:r>
                        <a:rPr lang="es-MX" sz="10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ldtrade</a:t>
                      </a:r>
                      <a:r>
                        <a:rPr lang="es-MX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a dar inicio a la operación temprana en el mes de noviembre de 2015 y lograr la realización del tren de prueba Santa Marta – La Dorada , en el mes de junio de 2016.</a:t>
                      </a:r>
                    </a:p>
                    <a:p>
                      <a:pPr marL="171450" lvl="1" indent="-171450" algn="just"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vilización de 5.036 Pasajeros en el abril de 2016, acumulado año 21.794 Pasajeros movilizados.</a:t>
                      </a:r>
                      <a:endParaRPr lang="es-MX" sz="10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</a:tr>
            </a:tbl>
          </a:graphicData>
        </a:graphic>
      </p:graphicFrame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7185642"/>
              </p:ext>
            </p:extLst>
          </p:nvPr>
        </p:nvGraphicFramePr>
        <p:xfrm>
          <a:off x="5670888" y="2672944"/>
          <a:ext cx="3433479" cy="1918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13" name="Imagen 12" descr="C:\Users\jrueda\AppData\Local\Microsoft\Windows\Temporary Internet Files\Content.Word\P1100103.jpg"/>
          <p:cNvPicPr/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4463" y="4591601"/>
            <a:ext cx="2426329" cy="17800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Imagen 13" descr="C:\Users\npaez\AppData\Local\Microsoft\Windows\Temporary Internet Files\Content.Outlook\4QPL8XUL\IMG-20151021-WA0005.jp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7223" y="1132386"/>
            <a:ext cx="2053954" cy="15405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Rectángulo 5"/>
          <p:cNvSpPr>
            <a:spLocks noChangeArrowheads="1"/>
          </p:cNvSpPr>
          <p:nvPr/>
        </p:nvSpPr>
        <p:spPr bwMode="auto">
          <a:xfrm>
            <a:off x="1885179" y="70277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 smtClean="0">
                <a:latin typeface="Candara" panose="020E0502030303020204" pitchFamily="34" charset="0"/>
                <a:sym typeface="Helvetica Neue Bold Condensed"/>
              </a:rPr>
              <a:t>LA DORADA- CHIRIGUANÁ</a:t>
            </a:r>
            <a:endParaRPr lang="es-ES" b="1" dirty="0">
              <a:latin typeface="Candara" panose="020E0502030303020204" pitchFamily="34" charset="0"/>
              <a:sym typeface="Helvetica Neue Bold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3961605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91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0688" y="1313336"/>
            <a:ext cx="4680520" cy="3759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39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40" name="Rectángulo 39"/>
          <p:cNvSpPr/>
          <p:nvPr/>
        </p:nvSpPr>
        <p:spPr>
          <a:xfrm>
            <a:off x="2457049" y="35971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2457049" y="1485825"/>
            <a:ext cx="103618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 smtClean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ntes</a:t>
            </a:r>
            <a:endParaRPr lang="es-MX" sz="2800" b="1" dirty="0">
              <a:solidFill>
                <a:srgbClr val="A5002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4723093" y="1485825"/>
            <a:ext cx="144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 smtClean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espués</a:t>
            </a:r>
            <a:endParaRPr lang="es-MX" sz="2800" b="1" dirty="0">
              <a:solidFill>
                <a:srgbClr val="A5002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/>
          </p:nvPr>
        </p:nvGraphicFramePr>
        <p:xfrm>
          <a:off x="1751654" y="1152690"/>
          <a:ext cx="5826872" cy="24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6872"/>
              </a:tblGrid>
              <a:tr h="248045">
                <a:tc>
                  <a:txBody>
                    <a:bodyPr/>
                    <a:lstStyle/>
                    <a:p>
                      <a:pPr algn="just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CO" sz="1600" b="1" i="0" spc="-10" dirty="0">
                          <a:effectLst/>
                          <a:latin typeface="Candara" panose="020E0502030303020204" pitchFamily="34" charset="0"/>
                        </a:rPr>
                        <a:t>Registro </a:t>
                      </a:r>
                      <a:r>
                        <a:rPr lang="es-CO" sz="1600" b="1" i="0" spc="-10" dirty="0" smtClean="0">
                          <a:effectLst/>
                          <a:latin typeface="Candara" panose="020E0502030303020204" pitchFamily="34" charset="0"/>
                        </a:rPr>
                        <a:t>Fotográfico</a:t>
                      </a:r>
                      <a:r>
                        <a:rPr lang="es-CO" sz="1600" b="1" i="0" spc="-10" baseline="0" dirty="0" smtClean="0">
                          <a:effectLst/>
                          <a:latin typeface="Candara" panose="020E0502030303020204" pitchFamily="34" charset="0"/>
                        </a:rPr>
                        <a:t>- Obras Terminadas</a:t>
                      </a:r>
                      <a:endParaRPr lang="es-MX" sz="1600" b="1" i="0" dirty="0">
                        <a:effectLst/>
                        <a:latin typeface="Candara" panose="020E0502030303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9535" marR="8953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3" name="24 Imagen" descr="C:\P1137 VHPA 200115\Puntos Criticos\Actas de Recibo Final\Fotos iniciales\PC 16 Ini.jpg"/>
          <p:cNvPicPr/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12887" y="2208179"/>
            <a:ext cx="2336575" cy="168668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4 Imagen" descr="C:\Users\GESTORASOCIAL JUNIOR\AppData\Local\Temp\Rar$DI08.035\Foto0021.jpg"/>
          <p:cNvPicPr/>
          <p:nvPr/>
        </p:nvPicPr>
        <p:blipFill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6971" y="4408521"/>
            <a:ext cx="2336575" cy="168358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Imagen 24" descr="F:\Recorrido abril 2015\IMG_0028.JPG"/>
          <p:cNvPicPr/>
          <p:nvPr/>
        </p:nvPicPr>
        <p:blipFill>
          <a:blip r:embed="rId12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5389" y="2208192"/>
            <a:ext cx="2322949" cy="168667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Imagen 25" descr="F:\Recorrido abril 2015\IMG_0016.JPG"/>
          <p:cNvPicPr/>
          <p:nvPr/>
        </p:nvPicPr>
        <p:blipFill>
          <a:blip r:embed="rId13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575" y="4408521"/>
            <a:ext cx="2336575" cy="168340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7" name="Tabl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644358"/>
              </p:ext>
            </p:extLst>
          </p:nvPr>
        </p:nvGraphicFramePr>
        <p:xfrm>
          <a:off x="6904427" y="2451639"/>
          <a:ext cx="1967011" cy="134459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967011"/>
              </a:tblGrid>
              <a:tr h="310062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C 29 - Box </a:t>
                      </a:r>
                      <a:r>
                        <a:rPr lang="es-MX" sz="1200" b="1" kern="1200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Culvert</a:t>
                      </a:r>
                      <a:endParaRPr lang="es-MX" sz="1200" b="1" kern="120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34531">
                <a:tc>
                  <a:txBody>
                    <a:bodyPr/>
                    <a:lstStyle/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511+445 Departamento: Santander</a:t>
                      </a:r>
                    </a:p>
                    <a:p>
                      <a:endParaRPr lang="es-MX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8" name="Tabla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5420928"/>
              </p:ext>
            </p:extLst>
          </p:nvPr>
        </p:nvGraphicFramePr>
        <p:xfrm>
          <a:off x="6910537" y="4677337"/>
          <a:ext cx="1954790" cy="141458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954790"/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C 30 – Alcantarill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511+889 Departamento: Santander</a:t>
                      </a:r>
                    </a:p>
                    <a:p>
                      <a:endParaRPr lang="es-MX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9" name="Rectángulo 5"/>
          <p:cNvSpPr>
            <a:spLocks noChangeArrowheads="1"/>
          </p:cNvSpPr>
          <p:nvPr/>
        </p:nvSpPr>
        <p:spPr bwMode="auto">
          <a:xfrm>
            <a:off x="1885179" y="70277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 smtClean="0">
                <a:latin typeface="Candara" panose="020E0502030303020204" pitchFamily="34" charset="0"/>
                <a:sym typeface="Helvetica Neue Bold Condensed"/>
              </a:rPr>
              <a:t>LA DORADA- CHIRIGUANÁ</a:t>
            </a:r>
            <a:endParaRPr lang="es-ES" b="1" dirty="0">
              <a:latin typeface="Candara" panose="020E0502030303020204" pitchFamily="34" charset="0"/>
              <a:sym typeface="Helvetica Neue Bold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191166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40" name="Rectángulo 39"/>
          <p:cNvSpPr/>
          <p:nvPr/>
        </p:nvSpPr>
        <p:spPr>
          <a:xfrm>
            <a:off x="2457049" y="35971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2457049" y="1485825"/>
            <a:ext cx="103618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 smtClean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ntes</a:t>
            </a:r>
            <a:endParaRPr lang="es-MX" sz="2800" b="1" dirty="0">
              <a:solidFill>
                <a:srgbClr val="A5002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4723093" y="1485825"/>
            <a:ext cx="144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 smtClean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espués</a:t>
            </a:r>
            <a:endParaRPr lang="es-MX" sz="2800" b="1" dirty="0">
              <a:solidFill>
                <a:srgbClr val="A5002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/>
          </p:nvPr>
        </p:nvGraphicFramePr>
        <p:xfrm>
          <a:off x="1751654" y="1152690"/>
          <a:ext cx="5826872" cy="24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6872"/>
              </a:tblGrid>
              <a:tr h="248045">
                <a:tc>
                  <a:txBody>
                    <a:bodyPr/>
                    <a:lstStyle/>
                    <a:p>
                      <a:pPr algn="just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CO" sz="1600" b="1" i="0" spc="-10" dirty="0">
                          <a:effectLst/>
                          <a:latin typeface="Candara" panose="020E0502030303020204" pitchFamily="34" charset="0"/>
                        </a:rPr>
                        <a:t>Registro </a:t>
                      </a:r>
                      <a:r>
                        <a:rPr lang="es-CO" sz="1600" b="1" i="0" spc="-10" dirty="0" smtClean="0">
                          <a:effectLst/>
                          <a:latin typeface="Candara" panose="020E0502030303020204" pitchFamily="34" charset="0"/>
                        </a:rPr>
                        <a:t>Fotográfico</a:t>
                      </a:r>
                      <a:r>
                        <a:rPr lang="es-CO" sz="1600" b="1" i="0" spc="-10" baseline="0" dirty="0" smtClean="0">
                          <a:effectLst/>
                          <a:latin typeface="Candara" panose="020E0502030303020204" pitchFamily="34" charset="0"/>
                        </a:rPr>
                        <a:t>- Obras Terminadas</a:t>
                      </a:r>
                      <a:endParaRPr lang="es-MX" sz="1600" b="1" i="0" dirty="0">
                        <a:effectLst/>
                        <a:latin typeface="Candara" panose="020E0502030303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9535" marR="8953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7" name="Imagen 16"/>
          <p:cNvPicPr>
            <a:picLocks noChangeAspect="1"/>
          </p:cNvPicPr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2887" y="2208179"/>
            <a:ext cx="2327118" cy="1686686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Imagen 18" descr="C:\Users\npaez\Desktop\Registro Fotografico\Registro Fotografico Dorada - Chiriguana\Comisón Contraloria 418-2013\IMG_4724.JPG"/>
          <p:cNvPicPr/>
          <p:nvPr/>
        </p:nvPicPr>
        <p:blipFill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3193" y="2203130"/>
            <a:ext cx="2210705" cy="1691735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725099"/>
              </p:ext>
            </p:extLst>
          </p:nvPr>
        </p:nvGraphicFramePr>
        <p:xfrm>
          <a:off x="6918886" y="2385717"/>
          <a:ext cx="2054934" cy="157587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054934"/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C 39 – Conformación </a:t>
                      </a:r>
                      <a:r>
                        <a:rPr lang="es-MX" sz="1200" b="1" kern="1200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erraplen</a:t>
                      </a:r>
                      <a:endParaRPr lang="es-MX" sz="1200" b="1" kern="120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598+810</a:t>
                      </a:r>
                    </a:p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artamento: Cesar</a:t>
                      </a:r>
                    </a:p>
                    <a:p>
                      <a:endParaRPr lang="es-MX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9" name="Imagen 28"/>
          <p:cNvPicPr>
            <a:picLocks noChangeAspect="1"/>
          </p:cNvPicPr>
          <p:nvPr/>
        </p:nvPicPr>
        <p:blipFill>
          <a:blip r:embed="rId12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6971" y="4408521"/>
            <a:ext cx="2336575" cy="171326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Imagen 29" descr="F:\Recorrido abril 2015\IMG_9910.JPG"/>
          <p:cNvPicPr/>
          <p:nvPr/>
        </p:nvPicPr>
        <p:blipFill>
          <a:blip r:embed="rId13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9446" y="4408520"/>
            <a:ext cx="2358198" cy="1683405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31" name="Tabla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8643668"/>
              </p:ext>
            </p:extLst>
          </p:nvPr>
        </p:nvGraphicFramePr>
        <p:xfrm>
          <a:off x="6916648" y="4542927"/>
          <a:ext cx="2057172" cy="141458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057172"/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C 30 – Alcantarill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511+889 Departamento: Santander</a:t>
                      </a:r>
                    </a:p>
                    <a:p>
                      <a:endParaRPr lang="es-MX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2" name="Rectángulo 5"/>
          <p:cNvSpPr>
            <a:spLocks noChangeArrowheads="1"/>
          </p:cNvSpPr>
          <p:nvPr/>
        </p:nvSpPr>
        <p:spPr bwMode="auto">
          <a:xfrm>
            <a:off x="1885179" y="70277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 smtClean="0">
                <a:latin typeface="Candara" panose="020E0502030303020204" pitchFamily="34" charset="0"/>
                <a:sym typeface="Helvetica Neue Bold Condensed"/>
              </a:rPr>
              <a:t>LA DORADA- CHIRIGUANÁ</a:t>
            </a:r>
            <a:endParaRPr lang="es-ES" b="1" dirty="0">
              <a:latin typeface="Candara" panose="020E0502030303020204" pitchFamily="34" charset="0"/>
              <a:sym typeface="Helvetica Neue Bold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413014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074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27" name="Rectángulo 26"/>
          <p:cNvSpPr/>
          <p:nvPr/>
        </p:nvSpPr>
        <p:spPr>
          <a:xfrm>
            <a:off x="2457049" y="396290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8" name="Grupo 27"/>
          <p:cNvGrpSpPr/>
          <p:nvPr/>
        </p:nvGrpSpPr>
        <p:grpSpPr>
          <a:xfrm>
            <a:off x="3211295" y="1320200"/>
            <a:ext cx="5361204" cy="921600"/>
            <a:chOff x="0" y="153170"/>
            <a:chExt cx="5102200" cy="921600"/>
          </a:xfrm>
        </p:grpSpPr>
        <p:sp>
          <p:nvSpPr>
            <p:cNvPr id="29" name="Rectángulo 28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ángulo 30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Nuestras Metas 2016</a:t>
              </a:r>
              <a:endParaRPr lang="es-CO" sz="3200" kern="1200" dirty="0"/>
            </a:p>
          </p:txBody>
        </p:sp>
      </p:grpSp>
      <p:graphicFrame>
        <p:nvGraphicFramePr>
          <p:cNvPr id="37" name="Diagrama 36"/>
          <p:cNvGraphicFramePr/>
          <p:nvPr>
            <p:extLst>
              <p:ext uri="{D42A27DB-BD31-4B8C-83A1-F6EECF244321}">
                <p14:modId xmlns:p14="http://schemas.microsoft.com/office/powerpoint/2010/main" val="3571133070"/>
              </p:ext>
            </p:extLst>
          </p:nvPr>
        </p:nvGraphicFramePr>
        <p:xfrm>
          <a:off x="3282874" y="2688352"/>
          <a:ext cx="5289625" cy="27464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145713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6" name="Rectángulo 5"/>
          <p:cNvSpPr>
            <a:spLocks noChangeArrowheads="1"/>
          </p:cNvSpPr>
          <p:nvPr/>
        </p:nvSpPr>
        <p:spPr bwMode="auto">
          <a:xfrm>
            <a:off x="1927165" y="228024"/>
            <a:ext cx="44891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sz="2800" b="1" dirty="0" smtClean="0">
                <a:solidFill>
                  <a:schemeClr val="accent5"/>
                </a:solidFill>
                <a:latin typeface="Candara" panose="020E0502030303020204" pitchFamily="34" charset="0"/>
              </a:rPr>
              <a:t>RED </a:t>
            </a:r>
            <a:r>
              <a:rPr lang="es-CO" sz="2800" b="1" dirty="0">
                <a:solidFill>
                  <a:schemeClr val="accent5"/>
                </a:solidFill>
                <a:latin typeface="Candara" panose="020E0502030303020204" pitchFamily="34" charset="0"/>
              </a:rPr>
              <a:t>FÉRREA </a:t>
            </a:r>
            <a:endParaRPr lang="es-ES" sz="2800" b="1" dirty="0">
              <a:solidFill>
                <a:schemeClr val="accent5"/>
              </a:solidFill>
              <a:latin typeface="Candara" panose="020E0502030303020204" pitchFamily="34" charset="0"/>
              <a:sym typeface="Helvetica Neue Bold Condensed" charset="0"/>
            </a:endParaRPr>
          </a:p>
        </p:txBody>
      </p:sp>
      <p:sp>
        <p:nvSpPr>
          <p:cNvPr id="7" name="Rectángulo 6"/>
          <p:cNvSpPr>
            <a:spLocks noChangeArrowheads="1"/>
          </p:cNvSpPr>
          <p:nvPr/>
        </p:nvSpPr>
        <p:spPr bwMode="auto">
          <a:xfrm>
            <a:off x="3851753" y="419381"/>
            <a:ext cx="49028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sz="2800" b="1" dirty="0" smtClean="0">
                <a:latin typeface="Candara" panose="020E0502030303020204" pitchFamily="34" charset="0"/>
                <a:sym typeface="Helvetica Neue Bold Condensed"/>
              </a:rPr>
              <a:t>DEL PACÍFICO</a:t>
            </a:r>
            <a:endParaRPr lang="es-ES" sz="2800" b="1" dirty="0">
              <a:latin typeface="Candara" panose="020E0502030303020204" pitchFamily="34" charset="0"/>
              <a:sym typeface="Helvetica Neue Bold Condensed"/>
            </a:endParaRP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5005838"/>
              </p:ext>
            </p:extLst>
          </p:nvPr>
        </p:nvGraphicFramePr>
        <p:xfrm>
          <a:off x="2384180" y="1636713"/>
          <a:ext cx="5863005" cy="4120515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3914236"/>
                <a:gridCol w="1165619"/>
                <a:gridCol w="783150"/>
              </a:tblGrid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Actividad</a:t>
                      </a:r>
                      <a:endParaRPr lang="es-CO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PROGRAMACIÓN</a:t>
                      </a:r>
                      <a:endParaRPr lang="es-CO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28575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Unidad de Medida</a:t>
                      </a:r>
                      <a:endParaRPr lang="es-CO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Meta </a:t>
                      </a:r>
                      <a:r>
                        <a:rPr lang="es-CO" sz="1400" b="1" u="none" strike="noStrike" dirty="0" smtClean="0">
                          <a:effectLst/>
                        </a:rPr>
                        <a:t>Año 2016</a:t>
                      </a:r>
                      <a:endParaRPr lang="es-CO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71500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>
                          <a:effectLst/>
                        </a:rPr>
                        <a:t>Realizar mantenimiento corredor Buenaventura - La Tebaida - Zarzal - Zaragoza (380 Km</a:t>
                      </a:r>
                      <a:r>
                        <a:rPr lang="es-CO" sz="1400" u="none" strike="noStrike" dirty="0" smtClean="0">
                          <a:effectLst/>
                        </a:rPr>
                        <a:t>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Km</a:t>
                      </a: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380</a:t>
                      </a: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81000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>
                          <a:effectLst/>
                        </a:rPr>
                        <a:t>Mantener Operación Comercial de la Vía Férrea (343km</a:t>
                      </a:r>
                      <a:r>
                        <a:rPr lang="es-CO" sz="1400" u="none" strike="noStrike" dirty="0" smtClean="0">
                          <a:effectLst/>
                        </a:rPr>
                        <a:t>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>
                          <a:effectLst/>
                        </a:rPr>
                        <a:t>Km</a:t>
                      </a:r>
                      <a:endParaRPr lang="es-CO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343</a:t>
                      </a: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81000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>
                          <a:effectLst/>
                        </a:rPr>
                        <a:t>Realizar movilización de carga (Toneladas métricas netas</a:t>
                      </a:r>
                      <a:r>
                        <a:rPr lang="es-CO" sz="1400" u="none" strike="noStrike" dirty="0" smtClean="0">
                          <a:effectLst/>
                        </a:rPr>
                        <a:t>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>
                          <a:effectLst/>
                        </a:rPr>
                        <a:t>Ton</a:t>
                      </a:r>
                      <a:endParaRPr lang="es-CO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290.000</a:t>
                      </a: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71500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>
                          <a:effectLst/>
                        </a:rPr>
                        <a:t>Evaluar Alternativas de Expandir la Red Férrea del Pacífico (Construcción variante Yumbo- Cerrito</a:t>
                      </a:r>
                      <a:r>
                        <a:rPr lang="es-CO" sz="1400" u="none" strike="noStrike" dirty="0" smtClean="0">
                          <a:effectLst/>
                        </a:rPr>
                        <a:t>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>
                          <a:effectLst/>
                        </a:rPr>
                        <a:t>Documento</a:t>
                      </a:r>
                      <a:endParaRPr lang="es-CO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1</a:t>
                      </a: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71500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>
                          <a:effectLst/>
                        </a:rPr>
                        <a:t>Evaluar Alternativas de Expandir la Red Férrea del Pacífico (Construcción Zaragoza- Zona Franca de Pereira)</a:t>
                      </a: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>
                          <a:effectLst/>
                        </a:rPr>
                        <a:t>Documento</a:t>
                      </a:r>
                      <a:endParaRPr lang="es-CO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1</a:t>
                      </a: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726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6" name="Rectángulo 5"/>
          <p:cNvSpPr>
            <a:spLocks noChangeArrowheads="1"/>
          </p:cNvSpPr>
          <p:nvPr/>
        </p:nvSpPr>
        <p:spPr bwMode="auto">
          <a:xfrm>
            <a:off x="1927165" y="228024"/>
            <a:ext cx="44891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sz="2800" b="1" dirty="0" smtClean="0">
                <a:solidFill>
                  <a:schemeClr val="accent5"/>
                </a:solidFill>
                <a:latin typeface="Candara" panose="020E0502030303020204" pitchFamily="34" charset="0"/>
              </a:rPr>
              <a:t>RED </a:t>
            </a:r>
            <a:r>
              <a:rPr lang="es-CO" sz="2800" b="1" dirty="0">
                <a:solidFill>
                  <a:schemeClr val="accent5"/>
                </a:solidFill>
                <a:latin typeface="Candara" panose="020E0502030303020204" pitchFamily="34" charset="0"/>
              </a:rPr>
              <a:t>FÉRREA </a:t>
            </a:r>
            <a:endParaRPr lang="es-ES" sz="2800" b="1" dirty="0">
              <a:solidFill>
                <a:schemeClr val="accent5"/>
              </a:solidFill>
              <a:latin typeface="Candara" panose="020E0502030303020204" pitchFamily="34" charset="0"/>
              <a:sym typeface="Helvetica Neue Bold Condensed" charset="0"/>
            </a:endParaRPr>
          </a:p>
        </p:txBody>
      </p:sp>
      <p:sp>
        <p:nvSpPr>
          <p:cNvPr id="7" name="Rectángulo 6"/>
          <p:cNvSpPr>
            <a:spLocks noChangeArrowheads="1"/>
          </p:cNvSpPr>
          <p:nvPr/>
        </p:nvSpPr>
        <p:spPr bwMode="auto">
          <a:xfrm>
            <a:off x="3851753" y="419381"/>
            <a:ext cx="49028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sz="2800" b="1" dirty="0" smtClean="0">
                <a:latin typeface="Candara" panose="020E0502030303020204" pitchFamily="34" charset="0"/>
                <a:sym typeface="Helvetica Neue Bold Condensed"/>
              </a:rPr>
              <a:t>DEL ATLÁNTICO</a:t>
            </a:r>
            <a:endParaRPr lang="es-ES" sz="2800" b="1" dirty="0">
              <a:latin typeface="Candara" panose="020E0502030303020204" pitchFamily="34" charset="0"/>
              <a:sym typeface="Helvetica Neue Bold Condensed"/>
            </a:endParaRP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4305233"/>
              </p:ext>
            </p:extLst>
          </p:nvPr>
        </p:nvGraphicFramePr>
        <p:xfrm>
          <a:off x="2084753" y="1255713"/>
          <a:ext cx="6527801" cy="5082540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4436616"/>
                <a:gridCol w="1309374"/>
                <a:gridCol w="781811"/>
              </a:tblGrid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 smtClean="0">
                          <a:effectLst/>
                        </a:rPr>
                        <a:t>Actividad</a:t>
                      </a:r>
                      <a:endParaRPr lang="es-CO" sz="12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PROGRAMACIÓN</a:t>
                      </a:r>
                      <a:endParaRPr lang="es-CO" sz="12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27590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Unidad de Medida</a:t>
                      </a:r>
                      <a:endParaRPr lang="es-CO" sz="12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Meta </a:t>
                      </a:r>
                      <a:r>
                        <a:rPr lang="es-CO" sz="1200" b="1" u="none" strike="noStrike" dirty="0" smtClean="0">
                          <a:effectLst/>
                        </a:rPr>
                        <a:t>Año 2016</a:t>
                      </a:r>
                      <a:endParaRPr lang="es-CO" sz="12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algn="l" fontAlgn="ctr"/>
                      <a:endParaRPr lang="es-CO" sz="10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 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 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b="1" u="none" strike="noStrike" dirty="0" smtClean="0">
                          <a:effectLst/>
                        </a:rPr>
                        <a:t>CONSTRUCCIÓN SEGUNDA  LÍNEA</a:t>
                      </a:r>
                      <a:endParaRPr lang="es-CO" sz="10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 </a:t>
                      </a:r>
                      <a:endParaRPr lang="es-CO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 </a:t>
                      </a:r>
                      <a:endParaRPr lang="es-CO" sz="10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000" u="none" strike="noStrike" dirty="0">
                          <a:effectLst/>
                        </a:rPr>
                        <a:t>la Extensión de Apartaderos (Iberia Norte)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km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   0,5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000" u="none" strike="noStrike" dirty="0">
                          <a:effectLst/>
                        </a:rPr>
                        <a:t>la construcción de la Segunda Línea Sector </a:t>
                      </a:r>
                      <a:r>
                        <a:rPr lang="es-CO" sz="1000" u="none" strike="noStrike" dirty="0" err="1">
                          <a:effectLst/>
                        </a:rPr>
                        <a:t>Guamachito</a:t>
                      </a:r>
                      <a:r>
                        <a:rPr lang="es-CO" sz="1000" u="none" strike="noStrike" dirty="0">
                          <a:effectLst/>
                        </a:rPr>
                        <a:t> Sur*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km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   4,8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000" u="none" strike="noStrike" dirty="0">
                          <a:effectLst/>
                        </a:rPr>
                        <a:t>la construcción de la Segunda Línea Sector </a:t>
                      </a:r>
                      <a:r>
                        <a:rPr lang="es-CO" sz="1000" u="none" strike="noStrike" dirty="0" err="1">
                          <a:effectLst/>
                        </a:rPr>
                        <a:t>Guamachito</a:t>
                      </a:r>
                      <a:r>
                        <a:rPr lang="es-CO" sz="1000" u="none" strike="noStrike" dirty="0">
                          <a:effectLst/>
                        </a:rPr>
                        <a:t> norte*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km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   1,55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000" u="none" strike="noStrike" dirty="0">
                          <a:effectLst/>
                        </a:rPr>
                        <a:t>la construcción de la Segunda Línea Sector Varela - Rio Frio*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km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   6,69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000" u="none" strike="noStrike" dirty="0">
                          <a:effectLst/>
                        </a:rPr>
                        <a:t>la Extensión tercera línea (ramal) Ciénaga sur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Km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   1,8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b="1" i="0" u="none" strike="noStrike" dirty="0" smtClean="0">
                          <a:effectLst/>
                        </a:rPr>
                        <a:t>REALIZAR MANTENIMIENTO DE VÍA (245 KM)</a:t>
                      </a:r>
                      <a:endParaRPr lang="es-CO" sz="10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Km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245,0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b="1" u="none" strike="noStrike" dirty="0" smtClean="0">
                          <a:effectLst/>
                        </a:rPr>
                        <a:t>REALIZAR OPERACIÓN DE VÍA (192 KM)</a:t>
                      </a:r>
                      <a:endParaRPr lang="es-CO" sz="10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Km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192,0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b="1" u="none" strike="noStrike" dirty="0" smtClean="0">
                          <a:effectLst/>
                        </a:rPr>
                        <a:t>REASENTAMIENTO POBLACIONAL</a:t>
                      </a:r>
                      <a:endParaRPr lang="es-CO" sz="10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 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 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Implementar </a:t>
                      </a:r>
                      <a:r>
                        <a:rPr lang="es-CO" sz="1000" u="none" strike="noStrike" dirty="0">
                          <a:effectLst/>
                        </a:rPr>
                        <a:t>el Plan de reasentamientos (Algarrobo y Loma Colorada)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 err="1">
                          <a:effectLst/>
                        </a:rPr>
                        <a:t>Und</a:t>
                      </a:r>
                      <a:r>
                        <a:rPr lang="es-CO" sz="1000" u="none" strike="noStrike" dirty="0">
                          <a:effectLst/>
                        </a:rPr>
                        <a:t> Sociales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   3,0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432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000" u="none" strike="noStrike" dirty="0">
                          <a:effectLst/>
                        </a:rPr>
                        <a:t>la contratación de la Implementación del  Plan de reasentamientos </a:t>
                      </a:r>
                      <a:r>
                        <a:rPr lang="es-CO" sz="1000" u="none" strike="noStrike" dirty="0" smtClean="0">
                          <a:effectLst/>
                        </a:rPr>
                        <a:t> (</a:t>
                      </a:r>
                      <a:r>
                        <a:rPr lang="es-CO" sz="1000" u="none" strike="noStrike" dirty="0" err="1">
                          <a:effectLst/>
                        </a:rPr>
                        <a:t>Guamachito</a:t>
                      </a:r>
                      <a:r>
                        <a:rPr lang="es-CO" sz="1000" u="none" strike="noStrike" dirty="0">
                          <a:effectLst/>
                        </a:rPr>
                        <a:t>, Varela y Rio Frio)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Contrato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   1,0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432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000" u="none" strike="noStrike" dirty="0">
                          <a:effectLst/>
                        </a:rPr>
                        <a:t>la contratación de la Formulación Plan de reasentamiento (Sector </a:t>
                      </a:r>
                      <a:r>
                        <a:rPr lang="es-CO" sz="1000" u="none" strike="noStrike" dirty="0" err="1">
                          <a:effectLst/>
                        </a:rPr>
                        <a:t>Bosconia</a:t>
                      </a:r>
                      <a:r>
                        <a:rPr lang="es-CO" sz="1000" u="none" strike="noStrike" dirty="0">
                          <a:effectLst/>
                        </a:rPr>
                        <a:t> Barrios Miramar-Paraíso- 18 de Febrero )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Contrato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   1,0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432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Contratar </a:t>
                      </a:r>
                      <a:r>
                        <a:rPr lang="es-CO" sz="1000" u="none" strike="noStrike" dirty="0">
                          <a:effectLst/>
                        </a:rPr>
                        <a:t>nuevos Planes de Formulación (Contratación de la Formulación Plan de Reasentamiento sector Fundación)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Contrato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   1,0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000" u="none" strike="noStrike" dirty="0">
                          <a:effectLst/>
                        </a:rPr>
                        <a:t>la construcción de 32 viviendas en los sectores de Loma Colorada y Algarrobo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Viviendas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>
                          <a:effectLst/>
                        </a:rPr>
                        <a:t>                        32,00 </a:t>
                      </a:r>
                      <a:endParaRPr lang="es-CO" sz="10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000" u="none" strike="noStrike" dirty="0" smtClean="0">
                          <a:effectLst/>
                        </a:rPr>
                        <a:t>Movilizar </a:t>
                      </a:r>
                      <a:r>
                        <a:rPr lang="es-CO" sz="1000" u="none" strike="noStrike" dirty="0">
                          <a:effectLst/>
                        </a:rPr>
                        <a:t>carga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86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Millones de Ton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00" u="none" strike="noStrike" dirty="0">
                          <a:effectLst/>
                        </a:rPr>
                        <a:t>                        47,70 </a:t>
                      </a:r>
                      <a:endParaRPr lang="es-CO" sz="10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08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473997"/>
              </p:ext>
            </p:ext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grpSp>
        <p:nvGrpSpPr>
          <p:cNvPr id="5" name="Grupo 4"/>
          <p:cNvGrpSpPr/>
          <p:nvPr/>
        </p:nvGrpSpPr>
        <p:grpSpPr>
          <a:xfrm>
            <a:off x="1874411" y="263195"/>
            <a:ext cx="6827450" cy="604927"/>
            <a:chOff x="-53556" y="130555"/>
            <a:chExt cx="8980263" cy="829089"/>
          </a:xfrm>
        </p:grpSpPr>
        <p:sp>
          <p:nvSpPr>
            <p:cNvPr id="6" name="Rectángulo 5"/>
            <p:cNvSpPr>
              <a:spLocks noChangeArrowheads="1"/>
            </p:cNvSpPr>
            <p:nvPr/>
          </p:nvSpPr>
          <p:spPr bwMode="auto">
            <a:xfrm>
              <a:off x="-53556" y="130555"/>
              <a:ext cx="5904656" cy="566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s-ES" sz="2800" b="1" dirty="0" smtClean="0">
                  <a:solidFill>
                    <a:schemeClr val="accent5"/>
                  </a:solidFill>
                  <a:latin typeface="Candara" panose="020E0502030303020204" pitchFamily="34" charset="0"/>
                  <a:sym typeface="Helvetica Neue Bold Condensed" charset="0"/>
                </a:rPr>
                <a:t>CORREDOR</a:t>
              </a:r>
              <a:endParaRPr lang="es-ES" sz="28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chemeClr val="accent5"/>
                </a:solidFill>
                <a:latin typeface="Candara" panose="020E0502030303020204" pitchFamily="34" charset="0"/>
                <a:sym typeface="Helvetica Neue Bold Condensed" charset="0"/>
              </a:endParaRPr>
            </a:p>
          </p:txBody>
        </p:sp>
        <p:sp>
          <p:nvSpPr>
            <p:cNvPr id="7" name="Rectángulo 5"/>
            <p:cNvSpPr>
              <a:spLocks noChangeArrowheads="1"/>
            </p:cNvSpPr>
            <p:nvPr/>
          </p:nvSpPr>
          <p:spPr bwMode="auto">
            <a:xfrm>
              <a:off x="2477888" y="392821"/>
              <a:ext cx="6448819" cy="566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s-ES" sz="2800" b="1" dirty="0" smtClean="0">
                  <a:latin typeface="Candara" panose="020E0502030303020204" pitchFamily="34" charset="0"/>
                  <a:sym typeface="Helvetica Neue Bold Condensed"/>
                </a:rPr>
                <a:t>BOGOTÁ- BELENCITO</a:t>
              </a:r>
              <a:endParaRPr lang="es-ES" sz="2800" b="1" dirty="0">
                <a:latin typeface="Candara" panose="020E0502030303020204" pitchFamily="34" charset="0"/>
                <a:sym typeface="Helvetica Neue Bold Condensed"/>
              </a:endParaRPr>
            </a:p>
          </p:txBody>
        </p:sp>
      </p:grp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590323"/>
              </p:ext>
            </p:extLst>
          </p:nvPr>
        </p:nvGraphicFramePr>
        <p:xfrm>
          <a:off x="2266463" y="1673225"/>
          <a:ext cx="6332414" cy="4124411"/>
        </p:xfrm>
        <a:graphic>
          <a:graphicData uri="http://schemas.openxmlformats.org/drawingml/2006/table">
            <a:tbl>
              <a:tblPr>
                <a:tableStyleId>{2A488322-F2BA-4B5B-9748-0D474271808F}</a:tableStyleId>
              </a:tblPr>
              <a:tblGrid>
                <a:gridCol w="4303822"/>
                <a:gridCol w="1079023"/>
                <a:gridCol w="949569"/>
              </a:tblGrid>
              <a:tr h="25154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Actividad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PROGRAMACIÓN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271551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Unidad de Medida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Meta </a:t>
                      </a:r>
                      <a:r>
                        <a:rPr lang="es-CO" sz="1400" b="1" u="none" strike="noStrike" dirty="0" smtClean="0">
                          <a:effectLst/>
                        </a:rPr>
                        <a:t>Año 216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130267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400" u="none" strike="noStrike" dirty="0">
                          <a:effectLst/>
                        </a:rPr>
                        <a:t>mantenimiento corredor Facatativá-Bogotá - Belencito; La Caro -Zipaquirá (318 Km</a:t>
                      </a:r>
                      <a:r>
                        <a:rPr lang="es-CO" sz="1400" u="none" strike="noStrike" dirty="0" smtClean="0">
                          <a:effectLst/>
                        </a:rPr>
                        <a:t>)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Km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                     318,00 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754627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 smtClean="0">
                          <a:effectLst/>
                        </a:rPr>
                        <a:t>Iniciar </a:t>
                      </a:r>
                      <a:r>
                        <a:rPr lang="es-CO" sz="1400" u="none" strike="noStrike" dirty="0">
                          <a:effectLst/>
                        </a:rPr>
                        <a:t>Operación temprana comercial corredor Bogotá- Belencito (  En operación actual 78 Km, Bogotá- Zipaquirá (Pasajeros) y Bogotá- </a:t>
                      </a:r>
                      <a:r>
                        <a:rPr lang="es-CO" sz="1400" u="none" strike="noStrike" dirty="0" smtClean="0">
                          <a:effectLst/>
                        </a:rPr>
                        <a:t>Talleres El </a:t>
                      </a:r>
                      <a:r>
                        <a:rPr lang="es-CO" sz="1400" u="none" strike="noStrike" dirty="0">
                          <a:effectLst/>
                        </a:rPr>
                        <a:t>Corzo ( Vehículos de mantenimiento</a:t>
                      </a:r>
                      <a:r>
                        <a:rPr lang="es-CO" sz="1400" u="none" strike="noStrike" dirty="0" smtClean="0">
                          <a:effectLst/>
                        </a:rPr>
                        <a:t>)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>
                          <a:effectLst/>
                        </a:rPr>
                        <a:t>Km</a:t>
                      </a:r>
                      <a:endParaRPr lang="es-CO" sz="14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                     318,00 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249082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 smtClean="0">
                          <a:effectLst/>
                        </a:rPr>
                        <a:t>Construir </a:t>
                      </a:r>
                      <a:r>
                        <a:rPr lang="es-CO" sz="1400" u="none" strike="noStrike" dirty="0">
                          <a:effectLst/>
                        </a:rPr>
                        <a:t>y regularizar 2 cruces férreos a nivel que se generan por cuenta de la construcción de la variante carretera en Gachancipá.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>
                          <a:effectLst/>
                        </a:rPr>
                        <a:t>UND</a:t>
                      </a:r>
                      <a:endParaRPr lang="es-CO" sz="14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                           2,00 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16781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5" name="Rectángulo 4"/>
          <p:cNvSpPr>
            <a:spLocks noChangeArrowheads="1"/>
          </p:cNvSpPr>
          <p:nvPr/>
        </p:nvSpPr>
        <p:spPr bwMode="auto">
          <a:xfrm>
            <a:off x="1927165" y="228024"/>
            <a:ext cx="4489150" cy="413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2800" b="1" dirty="0" smtClean="0">
                <a:solidFill>
                  <a:schemeClr val="accent5"/>
                </a:solidFill>
                <a:latin typeface="Candara" panose="020E0502030303020204" pitchFamily="34" charset="0"/>
                <a:sym typeface="Helvetica Neue Bold Condensed" charset="0"/>
              </a:rPr>
              <a:t>CORREDOR</a:t>
            </a:r>
            <a:endParaRPr lang="es-ES" sz="28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chemeClr val="accent5"/>
              </a:solidFill>
              <a:latin typeface="Candara" panose="020E0502030303020204" pitchFamily="34" charset="0"/>
              <a:sym typeface="Helvetica Neue Bold Condensed" charset="0"/>
            </a:endParaRPr>
          </a:p>
        </p:txBody>
      </p:sp>
      <p:sp>
        <p:nvSpPr>
          <p:cNvPr id="6" name="Rectángulo 5"/>
          <p:cNvSpPr>
            <a:spLocks noChangeArrowheads="1"/>
          </p:cNvSpPr>
          <p:nvPr/>
        </p:nvSpPr>
        <p:spPr bwMode="auto">
          <a:xfrm>
            <a:off x="3851753" y="419381"/>
            <a:ext cx="49028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sz="2800" b="1" dirty="0" smtClean="0">
                <a:latin typeface="Candara" panose="020E0502030303020204" pitchFamily="34" charset="0"/>
                <a:sym typeface="Helvetica Neue Bold Condensed"/>
              </a:rPr>
              <a:t>LA DORADA- CHIRIGUANÁ</a:t>
            </a:r>
            <a:endParaRPr lang="es-ES" sz="2800" b="1" dirty="0">
              <a:latin typeface="Candara" panose="020E0502030303020204" pitchFamily="34" charset="0"/>
              <a:sym typeface="Helvetica Neue Bold Condensed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7927707"/>
              </p:ext>
            </p:extLst>
          </p:nvPr>
        </p:nvGraphicFramePr>
        <p:xfrm>
          <a:off x="2002692" y="2215855"/>
          <a:ext cx="6527801" cy="2987040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4436616"/>
                <a:gridCol w="1309374"/>
                <a:gridCol w="781811"/>
              </a:tblGrid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Actividad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PROGRAMACIÓN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180975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Unidad de Medida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Meta </a:t>
                      </a:r>
                      <a:r>
                        <a:rPr lang="es-CO" sz="1400" b="1" u="none" strike="noStrike" dirty="0" smtClean="0">
                          <a:effectLst/>
                        </a:rPr>
                        <a:t>Año 2016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 smtClean="0">
                          <a:effectLst/>
                        </a:rPr>
                        <a:t>Realizar </a:t>
                      </a:r>
                      <a:r>
                        <a:rPr lang="es-CO" sz="1400" u="none" strike="noStrike" dirty="0">
                          <a:effectLst/>
                        </a:rPr>
                        <a:t>Mantenimiento corredor Dorada - Chiriguaná  (522 km</a:t>
                      </a:r>
                      <a:r>
                        <a:rPr lang="es-CO" sz="1400" u="none" strike="noStrike" dirty="0" smtClean="0">
                          <a:effectLst/>
                        </a:rPr>
                        <a:t>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400" b="0" i="0" u="none" strike="noStrike" dirty="0" smtClean="0"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Km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>
                          <a:effectLst/>
                        </a:rPr>
                        <a:t>                     522,00 </a:t>
                      </a:r>
                      <a:endParaRPr lang="es-CO" sz="14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4325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 smtClean="0">
                          <a:effectLst/>
                        </a:rPr>
                        <a:t>Iniciar </a:t>
                      </a:r>
                      <a:r>
                        <a:rPr lang="es-CO" sz="1400" u="none" strike="noStrike" dirty="0">
                          <a:effectLst/>
                        </a:rPr>
                        <a:t>Operación temprana del corredor La Dorada - Chiriguaná (En operación 145 Km, Grecia - Barrancabermeja - Garcia Cadena</a:t>
                      </a:r>
                      <a:r>
                        <a:rPr lang="es-CO" sz="1400" u="none" strike="noStrike" dirty="0" smtClean="0">
                          <a:effectLst/>
                        </a:rPr>
                        <a:t>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400" b="0" i="0" u="none" strike="noStrike" dirty="0" smtClean="0"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Km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                     522,00 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80975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pt-BR" sz="1400" u="none" strike="noStrike" dirty="0" smtClean="0">
                          <a:effectLst/>
                        </a:rPr>
                        <a:t>Construir </a:t>
                      </a:r>
                      <a:r>
                        <a:rPr lang="pt-BR" sz="1400" u="none" strike="noStrike" dirty="0">
                          <a:effectLst/>
                        </a:rPr>
                        <a:t>Obra- Fase I - Sector Ramal Capulco</a:t>
                      </a:r>
                      <a:endParaRPr lang="pt-BR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>
                          <a:effectLst/>
                        </a:rPr>
                        <a:t>km</a:t>
                      </a:r>
                      <a:endParaRPr lang="es-CO" sz="14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                           4,00 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684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77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Rectangle 16"/>
          <p:cNvSpPr>
            <a:spLocks noChangeArrowheads="1"/>
          </p:cNvSpPr>
          <p:nvPr/>
        </p:nvSpPr>
        <p:spPr bwMode="auto">
          <a:xfrm>
            <a:off x="1340078" y="204632"/>
            <a:ext cx="6493242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 smtClean="0">
                <a:effectLst/>
                <a:latin typeface="Calibri"/>
                <a:ea typeface="Times New Roman"/>
                <a:cs typeface="Times New Roman"/>
              </a:rPr>
              <a:t>AVANCES MODO FÉRREO</a:t>
            </a:r>
            <a:endParaRPr lang="es-CO" sz="1400" dirty="0">
              <a:effectLst/>
              <a:latin typeface="Calibri"/>
              <a:ea typeface="Times New Roman"/>
              <a:cs typeface="Times New Roman"/>
            </a:endParaRPr>
          </a:p>
        </p:txBody>
      </p:sp>
      <p:pic>
        <p:nvPicPr>
          <p:cNvPr id="8" name="Imagen 7" descr="F:\Recorrido abril 2015\IMG_9747.JPG"/>
          <p:cNvPicPr/>
          <p:nvPr/>
        </p:nvPicPr>
        <p:blipFill>
          <a:blip r:embed="rId7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325" y="3344944"/>
            <a:ext cx="2726118" cy="174057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8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0950" y="3368554"/>
            <a:ext cx="2829778" cy="1693352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9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325" y="1098599"/>
            <a:ext cx="2829778" cy="1860280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Imagen 11" descr="C:\Users\jrincon\AppData\Local\Microsoft\Windows\Temporary Internet Files\Content.Outlook\5XW34OU5\IMG-20160122-WA0003.jpg"/>
          <p:cNvPicPr/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0950" y="1106304"/>
            <a:ext cx="2829778" cy="1936936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8443" y="3146510"/>
            <a:ext cx="3087231" cy="18481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8443" y="1298362"/>
            <a:ext cx="3087231" cy="18481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magen 8" descr="C:\Users\npaez\AppData\Local\Microsoft\Windows\Temporary Internet Files\Content.Outlook\4QPL8XUL\IMG-20151021-WA0002.jpg"/>
          <p:cNvPicPr/>
          <p:nvPr/>
        </p:nvPicPr>
        <p:blipFill>
          <a:blip r:embed="rId14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9334" y="4723799"/>
            <a:ext cx="5097101" cy="1586466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12241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3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2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591" y="1113320"/>
            <a:ext cx="3998743" cy="5561887"/>
          </a:xfrm>
          <a:prstGeom prst="rect">
            <a:avLst/>
          </a:prstGeom>
        </p:spPr>
      </p:pic>
      <p:sp>
        <p:nvSpPr>
          <p:cNvPr id="11" name="CuadroTexto 10"/>
          <p:cNvSpPr txBox="1"/>
          <p:nvPr/>
        </p:nvSpPr>
        <p:spPr>
          <a:xfrm>
            <a:off x="5643386" y="4626413"/>
            <a:ext cx="1140056" cy="246221"/>
          </a:xfrm>
          <a:prstGeom prst="rect">
            <a:avLst/>
          </a:prstGeom>
          <a:ln w="190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CO" sz="1000" dirty="0" smtClean="0">
                <a:solidFill>
                  <a:srgbClr val="FF0000"/>
                </a:solidFill>
              </a:rPr>
              <a:t>Bogotá - Belencito</a:t>
            </a:r>
            <a:endParaRPr lang="es-CO" sz="1000" dirty="0">
              <a:solidFill>
                <a:srgbClr val="FF0000"/>
              </a:solidFill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4317517" y="3501568"/>
            <a:ext cx="1217000" cy="246221"/>
          </a:xfrm>
          <a:prstGeom prst="rect">
            <a:avLst/>
          </a:prstGeom>
          <a:ln w="190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CO" sz="1000" dirty="0" smtClean="0">
                <a:solidFill>
                  <a:srgbClr val="FF0000"/>
                </a:solidFill>
              </a:rPr>
              <a:t>Dorada - Chiriguaná</a:t>
            </a:r>
            <a:endParaRPr lang="es-CO" sz="1000" dirty="0">
              <a:solidFill>
                <a:srgbClr val="FF0000"/>
              </a:solidFill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5524785" y="2371395"/>
            <a:ext cx="1502334" cy="246221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CO" sz="1000" dirty="0" smtClean="0">
                <a:solidFill>
                  <a:schemeClr val="accent6">
                    <a:lumMod val="75000"/>
                  </a:schemeClr>
                </a:solidFill>
              </a:rPr>
              <a:t>Chiriguaná – Santa Marta</a:t>
            </a:r>
            <a:endParaRPr lang="es-CO" sz="1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8" name="CuadroTexto 27"/>
          <p:cNvSpPr txBox="1"/>
          <p:nvPr/>
        </p:nvSpPr>
        <p:spPr>
          <a:xfrm>
            <a:off x="1784648" y="6444375"/>
            <a:ext cx="1972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900" dirty="0" smtClean="0"/>
              <a:t>Mapa fuente: Herramienta ANI mapas</a:t>
            </a:r>
            <a:endParaRPr lang="es-CO" sz="900" dirty="0"/>
          </a:p>
        </p:txBody>
      </p:sp>
      <p:sp>
        <p:nvSpPr>
          <p:cNvPr id="30" name="CuadroTexto 29"/>
          <p:cNvSpPr txBox="1"/>
          <p:nvPr/>
        </p:nvSpPr>
        <p:spPr>
          <a:xfrm>
            <a:off x="2619806" y="5109286"/>
            <a:ext cx="1454244" cy="40011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s-CO" sz="1000" dirty="0" smtClean="0">
                <a:solidFill>
                  <a:schemeClr val="accent6">
                    <a:lumMod val="75000"/>
                  </a:schemeClr>
                </a:solidFill>
              </a:rPr>
              <a:t>Buenaventura – Tebaida</a:t>
            </a:r>
          </a:p>
          <a:p>
            <a:pPr algn="ctr"/>
            <a:r>
              <a:rPr lang="es-CO" sz="1000" dirty="0" smtClean="0">
                <a:solidFill>
                  <a:schemeClr val="accent6">
                    <a:lumMod val="75000"/>
                  </a:schemeClr>
                </a:solidFill>
              </a:rPr>
              <a:t>- Zaragoza</a:t>
            </a:r>
            <a:endParaRPr lang="es-CO" sz="100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843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3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3211295" y="1530512"/>
            <a:ext cx="5102200" cy="921600"/>
            <a:chOff x="0" y="153170"/>
            <a:chExt cx="5102200" cy="921600"/>
          </a:xfrm>
        </p:grpSpPr>
        <p:sp>
          <p:nvSpPr>
            <p:cNvPr id="19" name="Rectángulo 18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ectángulo 19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Nuestras Metas 2015</a:t>
              </a:r>
              <a:endParaRPr lang="es-CO" sz="3200" kern="1200" dirty="0"/>
            </a:p>
          </p:txBody>
        </p:sp>
      </p:grpSp>
      <p:graphicFrame>
        <p:nvGraphicFramePr>
          <p:cNvPr id="23" name="Diagrama 22"/>
          <p:cNvGraphicFramePr/>
          <p:nvPr>
            <p:extLst>
              <p:ext uri="{D42A27DB-BD31-4B8C-83A1-F6EECF244321}">
                <p14:modId xmlns:p14="http://schemas.microsoft.com/office/powerpoint/2010/main" val="3314577482"/>
              </p:ext>
            </p:extLst>
          </p:nvPr>
        </p:nvGraphicFramePr>
        <p:xfrm>
          <a:off x="3282875" y="2898664"/>
          <a:ext cx="5040560" cy="27464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2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78838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2457049" y="332282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19" name="CuadroTexto 18"/>
          <p:cNvSpPr txBox="1"/>
          <p:nvPr/>
        </p:nvSpPr>
        <p:spPr>
          <a:xfrm>
            <a:off x="1924638" y="147616"/>
            <a:ext cx="2833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 smtClean="0">
                <a:latin typeface="Candara" panose="020E0502030303020204" pitchFamily="34" charset="0"/>
              </a:rPr>
              <a:t>RED FÉRREA DEL PACÍFICO</a:t>
            </a:r>
            <a:endParaRPr lang="es-CO" b="1" dirty="0">
              <a:latin typeface="Candara" panose="020E0502030303020204" pitchFamily="34" charset="0"/>
            </a:endParaRP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5698444"/>
              </p:ext>
            </p:extLst>
          </p:nvPr>
        </p:nvGraphicFramePr>
        <p:xfrm>
          <a:off x="1949550" y="1192870"/>
          <a:ext cx="6375888" cy="4484370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6375888"/>
              </a:tblGrid>
              <a:tr h="159616">
                <a:tc>
                  <a:txBody>
                    <a:bodyPr/>
                    <a:lstStyle/>
                    <a:p>
                      <a:pPr algn="ctr" fontAlgn="b"/>
                      <a:endParaRPr lang="es-CO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002684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endParaRPr lang="es-CO" sz="1100" b="1" u="none" strike="noStrike" dirty="0" smtClean="0">
                        <a:effectLst/>
                      </a:endParaRPr>
                    </a:p>
                    <a:p>
                      <a:pPr marL="0" indent="0" algn="l" defTabSz="914400" rtl="0" eaLnBrk="1" fontAlgn="b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s-CO" sz="11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ras Mantenimiento y Conservación de vía.</a:t>
                      </a:r>
                    </a:p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s-CO" altLang="zh-CN" sz="1100" dirty="0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Construcción Soluciones definitivas a los problemas de manejo de aguas lluvias</a:t>
                      </a:r>
                    </a:p>
                    <a:p>
                      <a:pPr marL="0" indent="0" algn="l" defTabSz="914400" rtl="0" eaLnBrk="1" fontAlgn="b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s-CO" sz="11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ras contrato Fondo Adaptación</a:t>
                      </a:r>
                    </a:p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s-CO" altLang="zh-CN" sz="1100" dirty="0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Construcción Soluciones definitivas a los puntos críticos Ocasionados por la Ola Invernal 2010-2011</a:t>
                      </a:r>
                      <a:endParaRPr lang="es-CO" sz="110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s-ES_tradnl" sz="11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Museo Sans 500"/>
                        </a:rPr>
                        <a:t>Avances Físicos Plan de Normalización</a:t>
                      </a: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altLang="zh-CN" sz="1100" dirty="0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Construcción Tornamesa Buenaventura</a:t>
                      </a: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altLang="zh-CN" sz="1100" dirty="0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Mejoras Señalización</a:t>
                      </a: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altLang="zh-CN" sz="1100" dirty="0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Train </a:t>
                      </a:r>
                      <a:r>
                        <a:rPr lang="es-ES_tradnl" altLang="zh-CN" sz="1100" dirty="0" err="1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Alert</a:t>
                      </a:r>
                      <a:r>
                        <a:rPr lang="es-ES_tradnl" altLang="zh-CN" sz="1100" dirty="0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 </a:t>
                      </a:r>
                      <a:r>
                        <a:rPr lang="es-ES_tradnl" altLang="zh-CN" sz="1100" dirty="0" err="1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Warning</a:t>
                      </a:r>
                      <a:r>
                        <a:rPr lang="es-ES_tradnl" altLang="zh-CN" sz="1100" dirty="0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 </a:t>
                      </a:r>
                      <a:r>
                        <a:rPr lang="es-ES_tradnl" altLang="zh-CN" sz="1100" dirty="0" err="1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System</a:t>
                      </a:r>
                      <a:endParaRPr lang="es-ES_tradnl" altLang="zh-CN" sz="1100" dirty="0" smtClean="0">
                        <a:latin typeface="Candara" pitchFamily="34" charset="0"/>
                        <a:ea typeface="SimSun" pitchFamily="2" charset="-122"/>
                        <a:sym typeface="Museo Sans 500"/>
                      </a:endParaRP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altLang="zh-CN" sz="1100" dirty="0" smtClean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Automatización Pasos a Nivel</a:t>
                      </a:r>
                    </a:p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s-CO" sz="1100" b="1" u="none" strike="noStrike" dirty="0" smtClean="0">
                          <a:effectLst/>
                        </a:rPr>
                        <a:t>Material </a:t>
                      </a:r>
                      <a:r>
                        <a:rPr lang="es-CO" sz="1100" b="1" u="none" strike="noStrike" dirty="0">
                          <a:effectLst/>
                        </a:rPr>
                        <a:t>Rodante </a:t>
                      </a:r>
                      <a:endParaRPr lang="es-CO" sz="1100" b="1" u="none" strike="noStrike" dirty="0" smtClean="0">
                        <a:effectLst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Conversión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de 15 carros caja a plataforma. </a:t>
                      </a:r>
                      <a:endParaRPr lang="es-CO" sz="1100" kern="1200" dirty="0" smtClean="0">
                        <a:solidFill>
                          <a:schemeClr val="tx1"/>
                        </a:solidFill>
                        <a:latin typeface="Candara" pitchFamily="34" charset="0"/>
                        <a:ea typeface="SimSun" pitchFamily="2" charset="-122"/>
                        <a:cs typeface="+mn-cs"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ehabilitación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de carro motor </a:t>
                      </a: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618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Montaje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de twist-</a:t>
                      </a:r>
                      <a:r>
                        <a:rPr lang="es-CO" sz="1100" kern="1200" dirty="0" err="1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locks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 en </a:t>
                      </a: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30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plataformas concesionadas. </a:t>
                      </a:r>
                      <a:endParaRPr lang="es-CO" sz="1100" kern="1200" dirty="0" smtClean="0">
                        <a:solidFill>
                          <a:schemeClr val="tx1"/>
                        </a:solidFill>
                        <a:latin typeface="Candara" pitchFamily="34" charset="0"/>
                        <a:ea typeface="SimSun" pitchFamily="2" charset="-122"/>
                        <a:cs typeface="+mn-cs"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eparación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del segundo coche de </a:t>
                      </a: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pasajeros.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Grúa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7779 ejecuta trabajos de apoyo en descargue de maíz, </a:t>
                      </a:r>
                      <a:r>
                        <a:rPr lang="es-CO" sz="1100" kern="1200" dirty="0" err="1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encarrilamientos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. </a:t>
                      </a:r>
                      <a:endParaRPr lang="es-CO" sz="1100" kern="1200" dirty="0" smtClean="0">
                        <a:solidFill>
                          <a:schemeClr val="tx1"/>
                        </a:solidFill>
                        <a:latin typeface="Candara" pitchFamily="34" charset="0"/>
                        <a:ea typeface="SimSun" pitchFamily="2" charset="-122"/>
                        <a:cs typeface="+mn-cs"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Grúa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14 </a:t>
                      </a: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ehabilitada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Obras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de extensión de Cárcamo y construcción de nueva </a:t>
                      </a: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PETAR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Obras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de mejoramiento de almacén, área de mantenimiento de plataformas, muro. </a:t>
                      </a:r>
                      <a:endParaRPr lang="es-CO" sz="1100" kern="1200" dirty="0" smtClean="0">
                        <a:solidFill>
                          <a:schemeClr val="tx1"/>
                        </a:solidFill>
                        <a:latin typeface="Candara" pitchFamily="34" charset="0"/>
                        <a:ea typeface="SimSun" pitchFamily="2" charset="-122"/>
                        <a:cs typeface="+mn-cs"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err="1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Comisionamiento</a:t>
                      </a: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22 – en curso. </a:t>
                      </a:r>
                      <a:endParaRPr lang="es-CO" sz="1100" kern="1200" dirty="0" smtClean="0">
                        <a:solidFill>
                          <a:schemeClr val="tx1"/>
                        </a:solidFill>
                        <a:latin typeface="Candara" pitchFamily="34" charset="0"/>
                        <a:ea typeface="SimSun" pitchFamily="2" charset="-122"/>
                        <a:cs typeface="+mn-cs"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ehabilitación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U601 – en curso. Montaje de equipos. </a:t>
                      </a:r>
                      <a:endParaRPr lang="es-CO" sz="1100" kern="1200" dirty="0" smtClean="0">
                        <a:solidFill>
                          <a:schemeClr val="tx1"/>
                        </a:solidFill>
                        <a:latin typeface="Candara" pitchFamily="34" charset="0"/>
                        <a:ea typeface="SimSun" pitchFamily="2" charset="-122"/>
                        <a:cs typeface="+mn-cs"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ehabilitación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U1204 – reparación de planchón. </a:t>
                      </a:r>
                      <a:endParaRPr lang="es-CO" sz="1100" kern="1200" dirty="0" smtClean="0">
                        <a:solidFill>
                          <a:schemeClr val="tx1"/>
                        </a:solidFill>
                        <a:latin typeface="Candara" pitchFamily="34" charset="0"/>
                        <a:ea typeface="SimSun" pitchFamily="2" charset="-122"/>
                        <a:cs typeface="+mn-cs"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Pruebas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de potencia de locomotoras con nuevo equipo de prueba (load box), se realiza en todas las intervenciones programadas de 12.000 km y 60.000 km. </a:t>
                      </a:r>
                      <a:endParaRPr lang="es-CO" sz="1100" kern="1200" dirty="0" smtClean="0">
                        <a:solidFill>
                          <a:schemeClr val="tx1"/>
                        </a:solidFill>
                        <a:latin typeface="Candara" pitchFamily="34" charset="0"/>
                        <a:ea typeface="SimSun" pitchFamily="2" charset="-122"/>
                        <a:cs typeface="+mn-cs"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22 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en operación </a:t>
                      </a:r>
                      <a:r>
                        <a:rPr lang="es-CO" sz="1100" kern="1200" dirty="0" smtClean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Baja</a:t>
                      </a:r>
                      <a:endParaRPr lang="es-CO" sz="1100" kern="1200" dirty="0">
                        <a:solidFill>
                          <a:schemeClr val="tx1"/>
                        </a:solidFill>
                        <a:latin typeface="Candara" pitchFamily="34" charset="0"/>
                        <a:ea typeface="SimSun" pitchFamily="2" charset="-122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4" name="CuadroTexto 3"/>
          <p:cNvSpPr txBox="1"/>
          <p:nvPr/>
        </p:nvSpPr>
        <p:spPr>
          <a:xfrm>
            <a:off x="1924638" y="1192870"/>
            <a:ext cx="6400800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</a:rPr>
              <a:t>ACTIVIDADES DESTACADAS </a:t>
            </a:r>
            <a:r>
              <a:rPr lang="es-CO" b="1" dirty="0" smtClean="0">
                <a:solidFill>
                  <a:schemeClr val="bg1"/>
                </a:solidFill>
              </a:rPr>
              <a:t>2015</a:t>
            </a:r>
            <a:endParaRPr lang="es-CO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4379" y="2470949"/>
            <a:ext cx="2489787" cy="140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82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2457049" y="332282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9715" y="1665279"/>
            <a:ext cx="7043608" cy="4524085"/>
          </a:xfrm>
          <a:prstGeom prst="rect">
            <a:avLst/>
          </a:prstGeom>
        </p:spPr>
      </p:pic>
      <p:sp>
        <p:nvSpPr>
          <p:cNvPr id="15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55500" y="1225217"/>
            <a:ext cx="582440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ES_tradnl" altLang="zh-CN" sz="1600" b="1" dirty="0" smtClean="0">
                <a:latin typeface="Candara" panose="020E0502030303020204" pitchFamily="34" charset="0"/>
                <a:ea typeface="SimSun" pitchFamily="2" charset="-122"/>
                <a:sym typeface="Museo Sans 500"/>
              </a:rPr>
              <a:t>Inversiones del Concesionario dentro del Plan de Normalización</a:t>
            </a:r>
            <a:endParaRPr lang="es-ES_tradnl" altLang="zh-CN" sz="1600" b="1" dirty="0">
              <a:latin typeface="Candara" pitchFamily="34" charset="0"/>
              <a:ea typeface="SimSun" pitchFamily="2" charset="-122"/>
              <a:sym typeface="Museo Sans 500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1924638" y="147616"/>
            <a:ext cx="2833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 smtClean="0">
                <a:latin typeface="Candara" panose="020E0502030303020204" pitchFamily="34" charset="0"/>
              </a:rPr>
              <a:t>RED FÉRREA DEL PACÍFICO</a:t>
            </a:r>
            <a:endParaRPr lang="es-CO" b="1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166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2457049" y="332282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6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44704" y="1501832"/>
            <a:ext cx="52128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ES_tradnl" altLang="zh-CN" sz="1600" dirty="0" smtClean="0">
                <a:latin typeface="Candara" pitchFamily="34" charset="0"/>
                <a:ea typeface="SimSun" pitchFamily="2" charset="-122"/>
                <a:sym typeface="Museo Sans 500"/>
              </a:rPr>
              <a:t>Mejoras Señalización</a:t>
            </a:r>
            <a:endParaRPr lang="es-ES_tradnl" altLang="zh-CN" sz="1600" dirty="0">
              <a:latin typeface="Candara" pitchFamily="34" charset="0"/>
              <a:ea typeface="SimSun" pitchFamily="2" charset="-122"/>
              <a:sym typeface="Museo Sans 50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1899101" y="1835383"/>
            <a:ext cx="258648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1200" dirty="0"/>
              <a:t>Rolling Stock: </a:t>
            </a:r>
            <a:r>
              <a:rPr lang="es-CO" sz="1200" dirty="0" smtClean="0"/>
              <a:t>US$500.000 por </a:t>
            </a:r>
            <a:r>
              <a:rPr lang="es-CO" sz="1200" dirty="0"/>
              <a:t>invertir:</a:t>
            </a:r>
          </a:p>
          <a:p>
            <a:pPr algn="just"/>
            <a:r>
              <a:rPr lang="es-CO" sz="1200" dirty="0" smtClean="0"/>
              <a:t>Continuación </a:t>
            </a:r>
            <a:r>
              <a:rPr lang="es-CO" sz="1200" dirty="0"/>
              <a:t>de ejecución de la fabricación e instalación de Pasos a Nivel Automáticos en la Zona Norte,</a:t>
            </a:r>
          </a:p>
          <a:p>
            <a:pPr algn="just"/>
            <a:r>
              <a:rPr lang="es-CO" sz="1200" dirty="0"/>
              <a:t>inicio de negociación de los siguientes 8 Pasos a Nivel y terminar los proyectos de señalización de la vía</a:t>
            </a:r>
          </a:p>
          <a:p>
            <a:pPr algn="just"/>
            <a:r>
              <a:rPr lang="es-CO" sz="1200" dirty="0"/>
              <a:t>principal.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699048" y="665833"/>
            <a:ext cx="6444952" cy="748669"/>
          </a:xfrm>
        </p:spPr>
        <p:txBody>
          <a:bodyPr/>
          <a:lstStyle/>
          <a:p>
            <a:r>
              <a:rPr lang="es-ES_tradnl" dirty="0" smtClean="0">
                <a:sym typeface="Museo Sans 500"/>
              </a:rPr>
              <a:t>Avances Físicos Plan de Normalización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1189" y="1533377"/>
            <a:ext cx="2116574" cy="15874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McK 3. Unit of measur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905588" y="3312597"/>
            <a:ext cx="347348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ES_tradnl" altLang="zh-CN" sz="1600" dirty="0">
                <a:latin typeface="Candara" pitchFamily="34" charset="0"/>
                <a:ea typeface="SimSun" pitchFamily="2" charset="-122"/>
                <a:sym typeface="Museo Sans 500"/>
              </a:rPr>
              <a:t>Train Alert Warning System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4651131" y="3576702"/>
            <a:ext cx="3727940" cy="28392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1050" dirty="0"/>
              <a:t>Proyecto TAWS</a:t>
            </a:r>
          </a:p>
          <a:p>
            <a:pPr algn="just"/>
            <a:r>
              <a:rPr lang="es-CO" sz="1050" dirty="0" smtClean="0"/>
              <a:t>El </a:t>
            </a:r>
            <a:r>
              <a:rPr lang="es-CO" sz="1050" dirty="0"/>
              <a:t>promedio de ejecución a la fecha es de 100% respecto al </a:t>
            </a:r>
            <a:r>
              <a:rPr lang="es-CO" sz="1050" dirty="0" smtClean="0"/>
              <a:t>cronograma.</a:t>
            </a:r>
          </a:p>
          <a:p>
            <a:r>
              <a:rPr lang="es-CO" sz="1050" dirty="0" smtClean="0"/>
              <a:t>Se han instalado a la fecha 34/34 TAWS.</a:t>
            </a:r>
          </a:p>
          <a:p>
            <a:pPr algn="just"/>
            <a:r>
              <a:rPr lang="es-CO" sz="1050" dirty="0" smtClean="0"/>
              <a:t>Se </a:t>
            </a:r>
            <a:r>
              <a:rPr lang="es-CO" sz="1050" dirty="0"/>
              <a:t>terminan recorridos de mejoramiento para los TAWS (cambio de antenas externas para los TAWS </a:t>
            </a:r>
            <a:r>
              <a:rPr lang="es-CO" sz="1050" dirty="0" smtClean="0"/>
              <a:t>que necesitaban</a:t>
            </a:r>
            <a:r>
              <a:rPr lang="es-CO" sz="1050" dirty="0"/>
              <a:t>, nuevo software, entre otros) y se </a:t>
            </a:r>
            <a:r>
              <a:rPr lang="es-CO" sz="1050" dirty="0" smtClean="0"/>
              <a:t> realizan </a:t>
            </a:r>
            <a:r>
              <a:rPr lang="es-CO" sz="1050" dirty="0"/>
              <a:t>pruebas, siendo estas satisfactorias.</a:t>
            </a:r>
          </a:p>
          <a:p>
            <a:r>
              <a:rPr lang="es-CO" sz="1050" dirty="0" smtClean="0"/>
              <a:t>Se </a:t>
            </a:r>
            <a:r>
              <a:rPr lang="es-CO" sz="1050" dirty="0"/>
              <a:t>realizan visitas a los diferentes TAWS en compañía del área de Comunidades para evaluar el impacto </a:t>
            </a:r>
            <a:r>
              <a:rPr lang="es-CO" sz="1050" dirty="0" smtClean="0"/>
              <a:t>de estos </a:t>
            </a:r>
            <a:r>
              <a:rPr lang="es-CO" sz="1050" dirty="0"/>
              <a:t>equipos en estos lugares. La gente </a:t>
            </a:r>
            <a:r>
              <a:rPr lang="es-CO" sz="1050" dirty="0" smtClean="0"/>
              <a:t>manifiesta </a:t>
            </a:r>
            <a:r>
              <a:rPr lang="es-CO" sz="1050" dirty="0"/>
              <a:t>conformidad con este sistema y pide que se </a:t>
            </a:r>
            <a:r>
              <a:rPr lang="es-CO" sz="1050" dirty="0" smtClean="0"/>
              <a:t>modifiquen los </a:t>
            </a:r>
            <a:r>
              <a:rPr lang="es-CO" sz="1050" dirty="0"/>
              <a:t>escenarios de activación de las luces y alarmas para que tengan más tiempo de aviso.</a:t>
            </a:r>
          </a:p>
          <a:p>
            <a:r>
              <a:rPr lang="es-CO" sz="1050" dirty="0" smtClean="0"/>
              <a:t>Existe </a:t>
            </a:r>
            <a:r>
              <a:rPr lang="es-CO" sz="1050" dirty="0"/>
              <a:t>un poste ubicado en la zona de San Cipriano (PK27) que será reubicado porque NO tiene muy </a:t>
            </a:r>
            <a:r>
              <a:rPr lang="es-CO" sz="1050" dirty="0" smtClean="0"/>
              <a:t>buena recepción </a:t>
            </a:r>
            <a:r>
              <a:rPr lang="es-CO" sz="1050" dirty="0"/>
              <a:t>de luz solar y las comunidades manifiestan que en este punto NO genera mayor impacto.</a:t>
            </a:r>
          </a:p>
        </p:txBody>
      </p:sp>
      <p:pic>
        <p:nvPicPr>
          <p:cNvPr id="12" name="14 Imagen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91" r="50519" b="16745"/>
          <a:stretch/>
        </p:blipFill>
        <p:spPr bwMode="auto">
          <a:xfrm>
            <a:off x="2100820" y="4162451"/>
            <a:ext cx="2384770" cy="18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lecha doblada 1"/>
          <p:cNvSpPr/>
          <p:nvPr/>
        </p:nvSpPr>
        <p:spPr>
          <a:xfrm>
            <a:off x="3886200" y="3312597"/>
            <a:ext cx="914400" cy="714280"/>
          </a:xfrm>
          <a:prstGeom prst="bentArrow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  <p:sp>
        <p:nvSpPr>
          <p:cNvPr id="3" name="Flecha abajo 2"/>
          <p:cNvSpPr/>
          <p:nvPr/>
        </p:nvSpPr>
        <p:spPr>
          <a:xfrm rot="5400000">
            <a:off x="4655578" y="2135481"/>
            <a:ext cx="618435" cy="627329"/>
          </a:xfrm>
          <a:prstGeom prst="downArrow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924638" y="147616"/>
            <a:ext cx="2833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 smtClean="0">
                <a:latin typeface="Candara" panose="020E0502030303020204" pitchFamily="34" charset="0"/>
              </a:rPr>
              <a:t>RED FÉRREA DEL PACÍFICO</a:t>
            </a:r>
            <a:endParaRPr lang="es-CO" b="1" dirty="0"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125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2457049" y="332282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6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44704" y="1501832"/>
            <a:ext cx="68179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ES_tradnl" altLang="zh-CN" sz="1600" dirty="0" smtClean="0">
                <a:latin typeface="Candara" pitchFamily="34" charset="0"/>
                <a:ea typeface="SimSun" pitchFamily="2" charset="-122"/>
                <a:sym typeface="Museo Sans 500"/>
              </a:rPr>
              <a:t>Centro de Entrenamiento y Formación de Operadores – Cali (Valle del C auca)</a:t>
            </a:r>
            <a:endParaRPr lang="es-ES_tradnl" altLang="zh-CN" sz="1600" dirty="0">
              <a:latin typeface="Candara" pitchFamily="34" charset="0"/>
              <a:ea typeface="SimSun" pitchFamily="2" charset="-122"/>
              <a:sym typeface="Museo Sans 50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699048" y="665833"/>
            <a:ext cx="6444952" cy="748669"/>
          </a:xfrm>
        </p:spPr>
        <p:txBody>
          <a:bodyPr/>
          <a:lstStyle/>
          <a:p>
            <a:r>
              <a:rPr lang="es-ES_tradnl" dirty="0" smtClean="0">
                <a:sym typeface="Museo Sans 500"/>
              </a:rPr>
              <a:t>Avances Físicos Plan de Normalización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1924638" y="147616"/>
            <a:ext cx="2833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 smtClean="0">
                <a:latin typeface="Candara" panose="020E0502030303020204" pitchFamily="34" charset="0"/>
              </a:rPr>
              <a:t>RED FÉRREA DEL PACÍFICO</a:t>
            </a:r>
            <a:endParaRPr lang="es-CO" b="1" dirty="0">
              <a:latin typeface="Candara" panose="020E0502030303020204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6534" y="4045076"/>
            <a:ext cx="3061195" cy="2040797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0587" y="4045076"/>
            <a:ext cx="3058279" cy="2038853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0587" y="1876166"/>
            <a:ext cx="3061195" cy="2040797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6534" y="1876166"/>
            <a:ext cx="3061195" cy="2040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128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flju56HB0GvcIAw.J8.t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flju56HB0GvcIAw.J8.t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66b2_YsUClkzYMS0Ec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flju56HB0GvcIAw.J8.t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flju56HB0GvcIAw.J8.t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66b2_YsUClkzYMS0Ecp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CDqDLnUKKaWj8jgUr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xZw5OffkWAiHIb.7HyM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3147</TotalTime>
  <Words>2103</Words>
  <Application>Microsoft Office PowerPoint</Application>
  <PresentationFormat>Presentación en pantalla (4:3)</PresentationFormat>
  <Paragraphs>388</Paragraphs>
  <Slides>26</Slides>
  <Notes>24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6</vt:i4>
      </vt:variant>
    </vt:vector>
  </HeadingPairs>
  <TitlesOfParts>
    <vt:vector size="38" baseType="lpstr">
      <vt:lpstr>MS PGothic</vt:lpstr>
      <vt:lpstr>SimSun</vt:lpstr>
      <vt:lpstr>Arial</vt:lpstr>
      <vt:lpstr>Calibri</vt:lpstr>
      <vt:lpstr>Candara</vt:lpstr>
      <vt:lpstr>Helvetica Neue Bold Condensed</vt:lpstr>
      <vt:lpstr>Impact</vt:lpstr>
      <vt:lpstr>Museo Sans 500</vt:lpstr>
      <vt:lpstr>Times New Roman</vt:lpstr>
      <vt:lpstr>Wingdings</vt:lpstr>
      <vt:lpstr>plantilla ANI</vt:lpstr>
      <vt:lpstr>think-cell Slide</vt:lpstr>
      <vt:lpstr>Avances Modo Férre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vances Físicos Plan de Normalización</vt:lpstr>
      <vt:lpstr>Avances Físicos Plan de Normaliza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Samir Eduardo Espitia Angulo</cp:lastModifiedBy>
  <cp:revision>76</cp:revision>
  <dcterms:created xsi:type="dcterms:W3CDTF">2015-06-23T21:46:26Z</dcterms:created>
  <dcterms:modified xsi:type="dcterms:W3CDTF">2016-06-01T21:26:24Z</dcterms:modified>
</cp:coreProperties>
</file>